
<file path=[Content_Types].xml><?xml version="1.0" encoding="utf-8"?>
<Types xmlns="http://schemas.openxmlformats.org/package/2006/content-types">
  <Override PartName="/customXml/itemProps3.xml" ContentType="application/vnd.openxmlformats-officedocument.customXmlProperties+xml"/>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tags/tag8.xml" ContentType="application/vnd.openxmlformats-officedocument.presentationml.tags+xml"/>
  <Override PartName="/ppt/slideLayouts/slideLayout19.xml" ContentType="application/vnd.openxmlformats-officedocument.presentationml.slideLayout+xml"/>
  <Override PartName="/customXml/itemProps1.xml" ContentType="application/vnd.openxmlformats-officedocument.customXmlProperties+xml"/>
  <Override PartName="/ppt/slideMasters/slideMaster1.xml" ContentType="application/vnd.openxmlformats-officedocument.presentationml.slideMaster+xml"/>
  <Override PartName="/ppt/slides/slide4.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tags/tag4.xml" ContentType="application/vnd.openxmlformats-officedocument.presentationml.tags+xml"/>
  <Override PartName="/ppt/slideLayouts/slideLayout17.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Default Extension="rels" ContentType="application/vnd.openxmlformats-package.relationships+xml"/>
  <Default Extension="xml" ContentType="application/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tags/tag29.xml" ContentType="application/vnd.openxmlformats-officedocument.presentationml.tags+xml"/>
  <Override PartName="/ppt/tableStyles.xml" ContentType="application/vnd.openxmlformats-officedocument.presentationml.tableStyles+xml"/>
  <Override PartName="/ppt/slideLayouts/slideLayout11.xml" ContentType="application/vnd.openxmlformats-officedocument.presentationml.slideLayout+xml"/>
  <Override PartName="/ppt/tags/tag16.xml" ContentType="application/vnd.openxmlformats-officedocument.presentationml.tags+xml"/>
  <Override PartName="/ppt/tags/tag18.xml" ContentType="application/vnd.openxmlformats-officedocument.presentationml.tags+xml"/>
  <Override PartName="/ppt/tags/tag27.xml" ContentType="application/vnd.openxmlformats-officedocument.presentationml.tags+xml"/>
  <Override PartName="/ppt/tags/tag36.xml" ContentType="application/vnd.openxmlformats-officedocument.presentationml.tags+xml"/>
  <Override PartName="/docProps/custom.xml" ContentType="application/vnd.openxmlformats-officedocument.custom-properties+xml"/>
  <Override PartName="/ppt/tags/tag14.xml" ContentType="application/vnd.openxmlformats-officedocument.presentationml.tags+xml"/>
  <Override PartName="/ppt/tags/tag25.xml" ContentType="application/vnd.openxmlformats-officedocument.presentationml.tags+xml"/>
  <Override PartName="/ppt/tags/tag34.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32.xml" ContentType="application/vnd.openxmlformats-officedocument.presentationml.tags+xml"/>
  <Override PartName="/ppt/slides/slide7.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21.xml" ContentType="application/vnd.openxmlformats-officedocument.presentationml.tags+xml"/>
  <Override PartName="/ppt/tags/tag30.xml" ContentType="application/vnd.openxmlformats-officedocument.presentationml.tags+xml"/>
  <Override PartName="/customXml/itemProps2.xml" ContentType="application/vnd.openxmlformats-officedocument.customXmlProperties+xml"/>
  <Override PartName="/ppt/slideMasters/slideMaster2.xml" ContentType="application/vnd.openxmlformats-officedocument.presentationml.slideMaster+xml"/>
  <Override PartName="/ppt/slides/slide5.xml" ContentType="application/vnd.openxmlformats-officedocument.presentationml.slide+xml"/>
  <Override PartName="/ppt/slideLayouts/slideLayout7.xml" ContentType="application/vnd.openxmlformats-officedocument.presentationml.slideLayout+xml"/>
  <Override PartName="/ppt/tags/tag7.xml" ContentType="application/vnd.openxmlformats-officedocument.presentationml.tags+xml"/>
  <Default Extension="bin" ContentType="application/vnd.openxmlformats-officedocument.oleObject"/>
  <Default Extension="png" ContentType="image/png"/>
  <Override PartName="/ppt/theme/theme4.xml" ContentType="application/vnd.openxmlformats-officedocument.theme+xml"/>
  <Override PartName="/ppt/notesSlides/notesSlide1.xml" ContentType="application/vnd.openxmlformats-officedocument.presentationml.notesSlide+xml"/>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ags/tag5.xml" ContentType="application/vnd.openxmlformats-officedocument.presentationml.tags+xml"/>
  <Override PartName="/ppt/slideLayouts/slideLayout18.xml" ContentType="application/vnd.openxmlformats-officedocument.presentationml.slideLayout+xml"/>
  <Override PartName="/ppt/theme/theme2.xml" ContentType="application/vnd.openxmlformats-officedocument.theme+xml"/>
  <Override PartName="/ppt/slides/slide1.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Default Extension="jpeg" ContentType="image/jpeg"/>
  <Default Extension="emf" ContentType="image/x-emf"/>
  <Override PartName="/ppt/tags/tag3.xml" ContentType="application/vnd.openxmlformats-officedocument.presentationml.tag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19.xml" ContentType="application/vnd.openxmlformats-officedocument.presentationml.tags+xml"/>
  <Override PartName="/ppt/tags/tag28.xml" ContentType="application/vnd.openxmlformats-officedocument.presentationml.tags+xml"/>
  <Override PartName="/docProps/app.xml" ContentType="application/vnd.openxmlformats-officedocument.extended-properties+xml"/>
  <Override PartName="/ppt/slideLayouts/slideLayout12.xml" ContentType="application/vnd.openxmlformats-officedocument.presentationml.slideLayout+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Default Extension="wdp" ContentType="image/vnd.ms-photo"/>
  <Override PartName="/ppt/slideLayouts/slideLayout10.xml" ContentType="application/vnd.openxmlformats-officedocument.presentationml.slideLayout+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Default Extension="gif" ContentType="image/gif"/>
  <Override PartName="/ppt/tags/tag33.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slides/slide8.xml" ContentType="application/vnd.openxmlformats-officedocument.presentationml.slide+xml"/>
  <Override PartName="/ppt/handoutMasters/handoutMaster1.xml" ContentType="application/vnd.openxmlformats-officedocument.presentationml.handoutMaster+xml"/>
  <Override PartName="/ppt/tags/tag11.xml" ContentType="application/vnd.openxmlformats-officedocument.presentationml.tags+xml"/>
  <Override PartName="/ppt/tags/tag20.xml" ContentType="application/vnd.openxmlformats-officedocument.presentationml.tags+xml"/>
  <Override PartName="/docProps/core.xml" ContentType="application/vnd.openxmlformats-package.core-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4" r:id="rId5"/>
  </p:sldMasterIdLst>
  <p:notesMasterIdLst>
    <p:notesMasterId r:id="rId14"/>
  </p:notesMasterIdLst>
  <p:handoutMasterIdLst>
    <p:handoutMasterId r:id="rId15"/>
  </p:handoutMasterIdLst>
  <p:sldIdLst>
    <p:sldId id="569" r:id="rId6"/>
    <p:sldId id="584" r:id="rId7"/>
    <p:sldId id="585" r:id="rId8"/>
    <p:sldId id="580" r:id="rId9"/>
    <p:sldId id="578" r:id="rId10"/>
    <p:sldId id="583" r:id="rId11"/>
    <p:sldId id="581" r:id="rId12"/>
    <p:sldId id="586" r:id="rId13"/>
  </p:sldIdLst>
  <p:sldSz cx="9144000" cy="6858000" type="screen4x3"/>
  <p:notesSz cx="7010400" cy="93726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2" orient="horz" pos="336" userDrawn="1">
          <p15:clr>
            <a:srgbClr val="A4A3A4"/>
          </p15:clr>
        </p15:guide>
        <p15:guide id="3" pos="1344" userDrawn="1">
          <p15:clr>
            <a:srgbClr val="A4A3A4"/>
          </p15:clr>
        </p15:guide>
        <p15:guide id="4" orient="horz" pos="1176" userDrawn="1">
          <p15:clr>
            <a:srgbClr val="A4A3A4"/>
          </p15:clr>
        </p15:guide>
        <p15:guide id="5" pos="5664" userDrawn="1">
          <p15:clr>
            <a:srgbClr val="A4A3A4"/>
          </p15:clr>
        </p15:guide>
        <p15:guide id="6" orient="horz" pos="4032" userDrawn="1">
          <p15:clr>
            <a:srgbClr val="A4A3A4"/>
          </p15:clr>
        </p15:guide>
        <p15:guide id="7" orient="horz" pos="3984" userDrawn="1">
          <p15:clr>
            <a:srgbClr val="A4A3A4"/>
          </p15:clr>
        </p15:guide>
        <p15:guide id="8" orient="horz" pos="744" userDrawn="1">
          <p15:clr>
            <a:srgbClr val="A4A3A4"/>
          </p15:clr>
        </p15:guide>
      </p15:sldGuideLst>
    </p:ext>
    <p:ext uri="{2D200454-40CA-4A62-9FC3-DE9A4176ACB9}">
      <p15:notesGuideLst xmlns="" xmlns:p15="http://schemas.microsoft.com/office/powerpoint/2012/main">
        <p15:guide id="1" orient="horz" pos="2952">
          <p15:clr>
            <a:srgbClr val="A4A3A4"/>
          </p15:clr>
        </p15:guide>
        <p15:guide id="2" pos="2208">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 xmlns:p14="http://schemas.microsoft.com/office/powerpoint/2010/main">
          <a:srgbClr val="FF0000"/>
        </p14:laserClr>
      </p:ext>
      <p:ext uri="{2FDB2607-1784-4EEB-B798-7EB5836EED8A}">
        <p14:showMediaCtrls xmlns="" xmlns:p14="http://schemas.microsoft.com/office/powerpoint/2010/main" val="1"/>
      </p:ext>
    </p:extLst>
  </p:showPr>
  <p:clrMru>
    <a:srgbClr val="EFF9FB"/>
    <a:srgbClr val="401816"/>
    <a:srgbClr val="5C5F0B"/>
    <a:srgbClr val="B7BE16"/>
    <a:srgbClr val="A2BFAF"/>
    <a:srgbClr val="ACB7B2"/>
    <a:srgbClr val="FFBC1D"/>
    <a:srgbClr val="AC2B37"/>
    <a:srgbClr val="762C7C"/>
    <a:srgbClr val="AF1C63"/>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265" autoAdjust="0"/>
    <p:restoredTop sz="94660"/>
  </p:normalViewPr>
  <p:slideViewPr>
    <p:cSldViewPr snapToGrid="0">
      <p:cViewPr varScale="1">
        <p:scale>
          <a:sx n="89" d="100"/>
          <a:sy n="89" d="100"/>
        </p:scale>
        <p:origin x="-120" y="-444"/>
      </p:cViewPr>
      <p:guideLst>
        <p:guide orient="horz" pos="336"/>
        <p:guide orient="horz" pos="1176"/>
        <p:guide orient="horz" pos="4032"/>
        <p:guide orient="horz" pos="3984"/>
        <p:guide orient="horz" pos="744"/>
        <p:guide pos="1344"/>
        <p:guide pos="5664"/>
      </p:guideLst>
    </p:cSldViewPr>
  </p:slideViewPr>
  <p:notesTextViewPr>
    <p:cViewPr>
      <p:scale>
        <a:sx n="100" d="100"/>
        <a:sy n="100" d="100"/>
      </p:scale>
      <p:origin x="0" y="0"/>
    </p:cViewPr>
  </p:notesTextViewPr>
  <p:sorterViewPr>
    <p:cViewPr>
      <p:scale>
        <a:sx n="66" d="100"/>
        <a:sy n="66" d="100"/>
      </p:scale>
      <p:origin x="0" y="-2148"/>
    </p:cViewPr>
  </p:sorterViewPr>
  <p:notesViewPr>
    <p:cSldViewPr snapToGrid="0">
      <p:cViewPr varScale="1">
        <p:scale>
          <a:sx n="55" d="100"/>
          <a:sy n="55" d="100"/>
        </p:scale>
        <p:origin x="-2538" y="-90"/>
      </p:cViewPr>
      <p:guideLst>
        <p:guide orient="horz" pos="2952"/>
        <p:guide pos="2208"/>
      </p:guideLst>
    </p:cSldViewPr>
  </p:notes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handoutMaster" Target="handoutMasters/handoutMaster1.xml"/><Relationship Id="rId10" Type="http://schemas.openxmlformats.org/officeDocument/2006/relationships/slide" Target="slides/slide5.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8630"/>
          </a:xfrm>
          <a:prstGeom prst="rect">
            <a:avLst/>
          </a:prstGeom>
        </p:spPr>
        <p:txBody>
          <a:bodyPr vert="horz" lIns="93616" tIns="46808" rIns="93616" bIns="46808" rtlCol="0"/>
          <a:lstStyle>
            <a:lvl1pPr algn="l">
              <a:defRPr sz="1200"/>
            </a:lvl1pPr>
          </a:lstStyle>
          <a:p>
            <a:endParaRPr lang="en-US" dirty="0"/>
          </a:p>
        </p:txBody>
      </p:sp>
      <p:sp>
        <p:nvSpPr>
          <p:cNvPr id="3" name="Date Placeholder 2"/>
          <p:cNvSpPr>
            <a:spLocks noGrp="1"/>
          </p:cNvSpPr>
          <p:nvPr>
            <p:ph type="dt" sz="quarter" idx="1"/>
          </p:nvPr>
        </p:nvSpPr>
        <p:spPr>
          <a:xfrm>
            <a:off x="3970938" y="0"/>
            <a:ext cx="3037840" cy="468630"/>
          </a:xfrm>
          <a:prstGeom prst="rect">
            <a:avLst/>
          </a:prstGeom>
        </p:spPr>
        <p:txBody>
          <a:bodyPr vert="horz" lIns="93616" tIns="46808" rIns="93616" bIns="46808" rtlCol="0"/>
          <a:lstStyle>
            <a:lvl1pPr algn="r">
              <a:defRPr sz="1200"/>
            </a:lvl1pPr>
          </a:lstStyle>
          <a:p>
            <a:fld id="{CBC2C562-3ABF-449F-BC7D-78255304C412}" type="datetimeFigureOut">
              <a:rPr lang="en-US" smtClean="0"/>
              <a:pPr/>
              <a:t>11/14/2016</a:t>
            </a:fld>
            <a:endParaRPr lang="en-US" dirty="0"/>
          </a:p>
        </p:txBody>
      </p:sp>
      <p:sp>
        <p:nvSpPr>
          <p:cNvPr id="4" name="Footer Placeholder 3"/>
          <p:cNvSpPr>
            <a:spLocks noGrp="1"/>
          </p:cNvSpPr>
          <p:nvPr>
            <p:ph type="ftr" sz="quarter" idx="2"/>
          </p:nvPr>
        </p:nvSpPr>
        <p:spPr>
          <a:xfrm>
            <a:off x="0" y="8902343"/>
            <a:ext cx="3037840" cy="468630"/>
          </a:xfrm>
          <a:prstGeom prst="rect">
            <a:avLst/>
          </a:prstGeom>
        </p:spPr>
        <p:txBody>
          <a:bodyPr vert="horz" lIns="93616" tIns="46808" rIns="93616" bIns="46808"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938" y="8902343"/>
            <a:ext cx="3037840" cy="468630"/>
          </a:xfrm>
          <a:prstGeom prst="rect">
            <a:avLst/>
          </a:prstGeom>
        </p:spPr>
        <p:txBody>
          <a:bodyPr vert="horz" lIns="93616" tIns="46808" rIns="93616" bIns="46808" rtlCol="0" anchor="b"/>
          <a:lstStyle>
            <a:lvl1pPr algn="r">
              <a:defRPr sz="1200"/>
            </a:lvl1pPr>
          </a:lstStyle>
          <a:p>
            <a:fld id="{88C4C71A-1C17-4342-AD83-9B360BA581CB}" type="slidenum">
              <a:rPr lang="en-US" smtClean="0"/>
              <a:pPr/>
              <a:t>‹#›</a:t>
            </a:fld>
            <a:endParaRPr lang="en-US" dirty="0"/>
          </a:p>
        </p:txBody>
      </p:sp>
    </p:spTree>
    <p:extLst>
      <p:ext uri="{BB962C8B-B14F-4D97-AF65-F5344CB8AC3E}">
        <p14:creationId xmlns="" xmlns:p14="http://schemas.microsoft.com/office/powerpoint/2010/main" val="85517488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8630"/>
          </a:xfrm>
          <a:prstGeom prst="rect">
            <a:avLst/>
          </a:prstGeom>
        </p:spPr>
        <p:txBody>
          <a:bodyPr vert="horz" lIns="93616" tIns="46808" rIns="93616" bIns="46808" rtlCol="0"/>
          <a:lstStyle>
            <a:lvl1pPr algn="l">
              <a:defRPr sz="1200"/>
            </a:lvl1pPr>
          </a:lstStyle>
          <a:p>
            <a:endParaRPr lang="en-US" dirty="0"/>
          </a:p>
        </p:txBody>
      </p:sp>
      <p:sp>
        <p:nvSpPr>
          <p:cNvPr id="3" name="Date Placeholder 2"/>
          <p:cNvSpPr>
            <a:spLocks noGrp="1"/>
          </p:cNvSpPr>
          <p:nvPr>
            <p:ph type="dt" idx="1"/>
          </p:nvPr>
        </p:nvSpPr>
        <p:spPr>
          <a:xfrm>
            <a:off x="3970938" y="0"/>
            <a:ext cx="3037840" cy="468630"/>
          </a:xfrm>
          <a:prstGeom prst="rect">
            <a:avLst/>
          </a:prstGeom>
        </p:spPr>
        <p:txBody>
          <a:bodyPr vert="horz" lIns="93616" tIns="46808" rIns="93616" bIns="46808" rtlCol="0"/>
          <a:lstStyle>
            <a:lvl1pPr algn="r">
              <a:defRPr sz="1200"/>
            </a:lvl1pPr>
          </a:lstStyle>
          <a:p>
            <a:fld id="{6D0524E5-8614-4D32-A3DF-F32181F74545}" type="datetimeFigureOut">
              <a:rPr lang="en-US" smtClean="0"/>
              <a:pPr/>
              <a:t>11/14/2016</a:t>
            </a:fld>
            <a:endParaRPr lang="en-US" dirty="0"/>
          </a:p>
        </p:txBody>
      </p:sp>
      <p:sp>
        <p:nvSpPr>
          <p:cNvPr id="4" name="Slide Image Placeholder 3"/>
          <p:cNvSpPr>
            <a:spLocks noGrp="1" noRot="1" noChangeAspect="1"/>
          </p:cNvSpPr>
          <p:nvPr>
            <p:ph type="sldImg" idx="2"/>
          </p:nvPr>
        </p:nvSpPr>
        <p:spPr>
          <a:xfrm>
            <a:off x="1162050" y="703263"/>
            <a:ext cx="4686300" cy="3514725"/>
          </a:xfrm>
          <a:prstGeom prst="rect">
            <a:avLst/>
          </a:prstGeom>
          <a:noFill/>
          <a:ln w="12700">
            <a:solidFill>
              <a:prstClr val="black"/>
            </a:solidFill>
          </a:ln>
        </p:spPr>
        <p:txBody>
          <a:bodyPr vert="horz" lIns="93616" tIns="46808" rIns="93616" bIns="46808" rtlCol="0" anchor="ctr"/>
          <a:lstStyle/>
          <a:p>
            <a:endParaRPr lang="en-US" dirty="0"/>
          </a:p>
        </p:txBody>
      </p:sp>
      <p:sp>
        <p:nvSpPr>
          <p:cNvPr id="5" name="Notes Placeholder 4"/>
          <p:cNvSpPr>
            <a:spLocks noGrp="1"/>
          </p:cNvSpPr>
          <p:nvPr>
            <p:ph type="body" sz="quarter" idx="3"/>
          </p:nvPr>
        </p:nvSpPr>
        <p:spPr>
          <a:xfrm>
            <a:off x="701040" y="4451985"/>
            <a:ext cx="5608320" cy="4217670"/>
          </a:xfrm>
          <a:prstGeom prst="rect">
            <a:avLst/>
          </a:prstGeom>
        </p:spPr>
        <p:txBody>
          <a:bodyPr vert="horz" lIns="93616" tIns="46808" rIns="93616" bIns="46808"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902343"/>
            <a:ext cx="3037840" cy="468630"/>
          </a:xfrm>
          <a:prstGeom prst="rect">
            <a:avLst/>
          </a:prstGeom>
        </p:spPr>
        <p:txBody>
          <a:bodyPr vert="horz" lIns="93616" tIns="46808" rIns="93616" bIns="46808"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902343"/>
            <a:ext cx="3037840" cy="468630"/>
          </a:xfrm>
          <a:prstGeom prst="rect">
            <a:avLst/>
          </a:prstGeom>
        </p:spPr>
        <p:txBody>
          <a:bodyPr vert="horz" lIns="93616" tIns="46808" rIns="93616" bIns="46808" rtlCol="0" anchor="b"/>
          <a:lstStyle>
            <a:lvl1pPr algn="r">
              <a:defRPr sz="1200"/>
            </a:lvl1pPr>
          </a:lstStyle>
          <a:p>
            <a:fld id="{9FF4F04D-5809-46B9-BC34-D0E45399D316}" type="slidenum">
              <a:rPr lang="en-US" smtClean="0"/>
              <a:pPr/>
              <a:t>‹#›</a:t>
            </a:fld>
            <a:endParaRPr lang="en-US" dirty="0"/>
          </a:p>
        </p:txBody>
      </p:sp>
    </p:spTree>
    <p:extLst>
      <p:ext uri="{BB962C8B-B14F-4D97-AF65-F5344CB8AC3E}">
        <p14:creationId xmlns="" xmlns:p14="http://schemas.microsoft.com/office/powerpoint/2010/main" val="311037410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9FF4F04D-5809-46B9-BC34-D0E45399D316}" type="slidenum">
              <a:rPr lang="en-US" smtClean="0"/>
              <a:pPr/>
              <a:t>1</a:t>
            </a:fld>
            <a:endParaRPr lang="en-US" dirty="0"/>
          </a:p>
        </p:txBody>
      </p:sp>
    </p:spTree>
    <p:extLst>
      <p:ext uri="{BB962C8B-B14F-4D97-AF65-F5344CB8AC3E}">
        <p14:creationId xmlns="" xmlns:p14="http://schemas.microsoft.com/office/powerpoint/2010/main" val="337693972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tags" Target="../tags/tag20.xml"/><Relationship Id="rId7" Type="http://schemas.openxmlformats.org/officeDocument/2006/relationships/oleObject" Target="../embeddings/oleObject3.bin"/><Relationship Id="rId2" Type="http://schemas.openxmlformats.org/officeDocument/2006/relationships/tags" Target="../tags/tag19.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22.xml"/><Relationship Id="rId4" Type="http://schemas.openxmlformats.org/officeDocument/2006/relationships/tags" Target="../tags/tag21.xml"/></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tags" Target="../tags/tag33.xml"/><Relationship Id="rId7" Type="http://schemas.openxmlformats.org/officeDocument/2006/relationships/oleObject" Target="../embeddings/oleObject5.bin"/><Relationship Id="rId2" Type="http://schemas.openxmlformats.org/officeDocument/2006/relationships/tags" Target="../tags/tag32.xml"/><Relationship Id="rId1" Type="http://schemas.openxmlformats.org/officeDocument/2006/relationships/vmlDrawing" Target="../drawings/vmlDrawing5.vml"/><Relationship Id="rId6" Type="http://schemas.openxmlformats.org/officeDocument/2006/relationships/slideMaster" Target="../slideMasters/slideMaster2.xml"/><Relationship Id="rId5" Type="http://schemas.openxmlformats.org/officeDocument/2006/relationships/tags" Target="../tags/tag35.xml"/><Relationship Id="rId4" Type="http://schemas.openxmlformats.org/officeDocument/2006/relationships/tags" Target="../tags/tag34.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6.xml"/><Relationship Id="rId1" Type="http://schemas.openxmlformats.org/officeDocument/2006/relationships/vmlDrawing" Target="../drawings/vmlDrawing6.vml"/><Relationship Id="rId5" Type="http://schemas.openxmlformats.org/officeDocument/2006/relationships/image" Target="../media/image34.png"/><Relationship Id="rId4" Type="http://schemas.openxmlformats.org/officeDocument/2006/relationships/oleObject" Target="../embeddings/oleObject6.bin"/></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vmlDrawing" Target="../drawings/vmlDrawing7.v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tags" Target="../tags/tag4.xml"/><Relationship Id="rId7"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1.vml"/><Relationship Id="rId6" Type="http://schemas.openxmlformats.org/officeDocument/2006/relationships/tags" Target="../tags/tag7.xml"/><Relationship Id="rId11" Type="http://schemas.openxmlformats.org/officeDocument/2006/relationships/image" Target="../media/image6.jpeg"/><Relationship Id="rId5" Type="http://schemas.openxmlformats.org/officeDocument/2006/relationships/tags" Target="../tags/tag6.xml"/><Relationship Id="rId10" Type="http://schemas.openxmlformats.org/officeDocument/2006/relationships/image" Target="../media/image5.emf"/><Relationship Id="rId4" Type="http://schemas.openxmlformats.org/officeDocument/2006/relationships/tags" Target="../tags/tag5.xml"/><Relationship Id="rId9" Type="http://schemas.openxmlformats.org/officeDocument/2006/relationships/oleObject" Target="../embeddings/oleObject1.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4" Type="http://schemas.openxmlformats.org/officeDocument/2006/relationships/image" Target="../media/image7.jpeg"/></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4" Type="http://schemas.openxmlformats.org/officeDocument/2006/relationships/image" Target="../media/image8.jpeg"/></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9.jpeg"/><Relationship Id="rId13" Type="http://schemas.openxmlformats.org/officeDocument/2006/relationships/image" Target="../media/image14.png"/><Relationship Id="rId18" Type="http://schemas.openxmlformats.org/officeDocument/2006/relationships/image" Target="../media/image19.png"/><Relationship Id="rId26" Type="http://schemas.openxmlformats.org/officeDocument/2006/relationships/image" Target="../media/image27.png"/><Relationship Id="rId3" Type="http://schemas.openxmlformats.org/officeDocument/2006/relationships/tags" Target="../tags/tag15.xml"/><Relationship Id="rId21" Type="http://schemas.openxmlformats.org/officeDocument/2006/relationships/image" Target="../media/image22.png"/><Relationship Id="rId34" Type="http://schemas.openxmlformats.org/officeDocument/2006/relationships/image" Target="../media/image33.png"/><Relationship Id="rId7" Type="http://schemas.openxmlformats.org/officeDocument/2006/relationships/slideMaster" Target="../slideMasters/slideMaster1.xml"/><Relationship Id="rId12" Type="http://schemas.openxmlformats.org/officeDocument/2006/relationships/image" Target="../media/image13.png"/><Relationship Id="rId17" Type="http://schemas.openxmlformats.org/officeDocument/2006/relationships/image" Target="../media/image18.png"/><Relationship Id="rId25" Type="http://schemas.openxmlformats.org/officeDocument/2006/relationships/image" Target="../media/image26.png"/><Relationship Id="rId33" Type="http://schemas.openxmlformats.org/officeDocument/2006/relationships/image" Target="../media/image32.png"/><Relationship Id="rId2" Type="http://schemas.openxmlformats.org/officeDocument/2006/relationships/tags" Target="../tags/tag14.xml"/><Relationship Id="rId16" Type="http://schemas.openxmlformats.org/officeDocument/2006/relationships/image" Target="../media/image17.png"/><Relationship Id="rId20" Type="http://schemas.openxmlformats.org/officeDocument/2006/relationships/image" Target="../media/image21.png"/><Relationship Id="rId29" Type="http://schemas.openxmlformats.org/officeDocument/2006/relationships/image" Target="../media/image28.png"/><Relationship Id="rId1" Type="http://schemas.openxmlformats.org/officeDocument/2006/relationships/vmlDrawing" Target="../drawings/vmlDrawing2.vml"/><Relationship Id="rId6" Type="http://schemas.openxmlformats.org/officeDocument/2006/relationships/tags" Target="../tags/tag18.xml"/><Relationship Id="rId11" Type="http://schemas.openxmlformats.org/officeDocument/2006/relationships/image" Target="../media/image12.png"/><Relationship Id="rId24" Type="http://schemas.openxmlformats.org/officeDocument/2006/relationships/image" Target="../media/image25.png"/><Relationship Id="rId32" Type="http://schemas.openxmlformats.org/officeDocument/2006/relationships/image" Target="../media/image31.png"/><Relationship Id="rId5" Type="http://schemas.openxmlformats.org/officeDocument/2006/relationships/tags" Target="../tags/tag17.xml"/><Relationship Id="rId15" Type="http://schemas.openxmlformats.org/officeDocument/2006/relationships/image" Target="../media/image16.png"/><Relationship Id="rId23" Type="http://schemas.openxmlformats.org/officeDocument/2006/relationships/image" Target="../media/image24.png"/><Relationship Id="rId28" Type="http://schemas.microsoft.com/office/2007/relationships/hdphoto" Target="../media/hdphoto1.wdp"/><Relationship Id="rId36" Type="http://schemas.openxmlformats.org/officeDocument/2006/relationships/oleObject" Target="../embeddings/oleObject2.bin"/><Relationship Id="rId10" Type="http://schemas.openxmlformats.org/officeDocument/2006/relationships/image" Target="../media/image11.png"/><Relationship Id="rId19" Type="http://schemas.openxmlformats.org/officeDocument/2006/relationships/image" Target="../media/image20.png"/><Relationship Id="rId31" Type="http://schemas.openxmlformats.org/officeDocument/2006/relationships/image" Target="../media/image30.png"/><Relationship Id="rId4" Type="http://schemas.openxmlformats.org/officeDocument/2006/relationships/tags" Target="../tags/tag16.xml"/><Relationship Id="rId9" Type="http://schemas.openxmlformats.org/officeDocument/2006/relationships/image" Target="../media/image10.png"/><Relationship Id="rId14" Type="http://schemas.openxmlformats.org/officeDocument/2006/relationships/image" Target="../media/image15.png"/><Relationship Id="rId22" Type="http://schemas.openxmlformats.org/officeDocument/2006/relationships/image" Target="../media/image23.png"/><Relationship Id="rId30" Type="http://schemas.openxmlformats.org/officeDocument/2006/relationships/image" Target="../media/image29.png"/><Relationship Id="rId35" Type="http://schemas.microsoft.com/office/2007/relationships/hdphoto" Target="../media/hdphoto2.wdp"/></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with Lead Line &amp; Bulleted List">
    <p:spTree>
      <p:nvGrpSpPr>
        <p:cNvPr id="1" name=""/>
        <p:cNvGrpSpPr/>
        <p:nvPr/>
      </p:nvGrpSpPr>
      <p:grpSpPr>
        <a:xfrm>
          <a:off x="0" y="0"/>
          <a:ext cx="0" cy="0"/>
          <a:chOff x="0" y="0"/>
          <a:chExt cx="0" cy="0"/>
        </a:xfrm>
      </p:grpSpPr>
      <p:sp>
        <p:nvSpPr>
          <p:cNvPr id="2" name="Title 1"/>
          <p:cNvSpPr>
            <a:spLocks noGrp="1"/>
          </p:cNvSpPr>
          <p:nvPr>
            <p:ph type="title"/>
          </p:nvPr>
        </p:nvSpPr>
        <p:spPr>
          <a:xfrm>
            <a:off x="0" y="25263"/>
            <a:ext cx="8823960" cy="822960"/>
          </a:xfrm>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320040" y="1171977"/>
            <a:ext cx="8503920" cy="1384995"/>
          </a:xfrm>
          <a:noFill/>
          <a:ln w="9525" algn="ctr">
            <a:noFill/>
            <a:miter lim="800000"/>
            <a:headEnd/>
            <a:tailEnd/>
          </a:ln>
          <a:effectLst/>
        </p:spPr>
        <p:txBody>
          <a:bodyPr vert="horz" wrap="square" lIns="0" tIns="0" rIns="0" bIns="0" numCol="1" anchor="t" anchorCtr="0" compatLnSpc="1">
            <a:prstTxWarp prst="textNoShape">
              <a:avLst/>
            </a:prstTxWarp>
            <a:spAutoFit/>
          </a:bodyPr>
          <a:lstStyle>
            <a:lvl1pPr marL="0" indent="0" algn="l" defTabSz="914400" rtl="0" eaLnBrk="0" fontAlgn="base" latinLnBrk="0" hangingPunct="0">
              <a:spcBef>
                <a:spcPct val="0"/>
              </a:spcBef>
              <a:spcAft>
                <a:spcPts val="600"/>
              </a:spcAft>
              <a:buClr>
                <a:schemeClr val="accent2"/>
              </a:buClr>
              <a:buNone/>
              <a:defRPr lang="en-US" sz="1600" b="1" kern="1200" dirty="0" smtClean="0">
                <a:solidFill>
                  <a:schemeClr val="tx1"/>
                </a:solidFill>
                <a:latin typeface="Arial" pitchFamily="34" charset="0"/>
                <a:ea typeface="+mn-ea"/>
                <a:cs typeface="Arial" pitchFamily="34" charset="0"/>
              </a:defRPr>
            </a:lvl1pPr>
            <a:lvl2pPr marL="231775" indent="-231775" algn="l" defTabSz="914400" rtl="0" eaLnBrk="0" fontAlgn="base" latinLnBrk="0" hangingPunct="0">
              <a:spcBef>
                <a:spcPct val="0"/>
              </a:spcBef>
              <a:spcAft>
                <a:spcPts val="600"/>
              </a:spcAft>
              <a:buClr>
                <a:schemeClr val="accent2"/>
              </a:buClr>
              <a:buFont typeface="Wingdings" pitchFamily="2" charset="2"/>
              <a:buChar char="§"/>
              <a:defRPr lang="en-US" sz="1600" b="0" kern="1200" dirty="0" smtClean="0">
                <a:solidFill>
                  <a:schemeClr val="tx1"/>
                </a:solidFill>
                <a:latin typeface="Arial" pitchFamily="34" charset="0"/>
                <a:ea typeface="+mn-ea"/>
                <a:cs typeface="Arial" pitchFamily="34" charset="0"/>
              </a:defRPr>
            </a:lvl2pPr>
            <a:lvl3pPr marL="569913" indent="-228600" algn="l" defTabSz="914400" rtl="0" eaLnBrk="0" fontAlgn="base" latinLnBrk="0" hangingPunct="0">
              <a:spcBef>
                <a:spcPct val="0"/>
              </a:spcBef>
              <a:spcAft>
                <a:spcPts val="600"/>
              </a:spcAft>
              <a:buClr>
                <a:schemeClr val="accent2"/>
              </a:buClr>
              <a:buFont typeface="Arial" pitchFamily="34" charset="0"/>
              <a:buChar char="–"/>
              <a:defRPr lang="en-US" sz="1400" b="0" kern="1200" dirty="0" smtClean="0">
                <a:solidFill>
                  <a:schemeClr val="tx1"/>
                </a:solidFill>
                <a:latin typeface="Arial" pitchFamily="34" charset="0"/>
                <a:ea typeface="+mn-ea"/>
                <a:cs typeface="Arial" pitchFamily="34" charset="0"/>
              </a:defRPr>
            </a:lvl3pPr>
            <a:lvl4pPr marL="795338" indent="-228600" algn="l" defTabSz="914400" rtl="0" eaLnBrk="0" fontAlgn="base" latinLnBrk="0" hangingPunct="0">
              <a:spcBef>
                <a:spcPct val="0"/>
              </a:spcBef>
              <a:spcAft>
                <a:spcPts val="600"/>
              </a:spcAft>
              <a:buClr>
                <a:schemeClr val="accent2"/>
              </a:buClr>
              <a:buFont typeface="Arial" pitchFamily="34" charset="0"/>
              <a:buChar char="•"/>
              <a:defRPr lang="en-US" sz="1200" b="0" kern="1200" dirty="0" smtClean="0">
                <a:solidFill>
                  <a:schemeClr val="tx1"/>
                </a:solidFill>
                <a:latin typeface="Arial" pitchFamily="34" charset="0"/>
                <a:ea typeface="+mn-ea"/>
                <a:cs typeface="Arial" pitchFamily="34" charset="0"/>
              </a:defRPr>
            </a:lvl4pPr>
            <a:lvl5pPr marL="1031875" indent="-228600" algn="l" defTabSz="914400" rtl="0" eaLnBrk="0" fontAlgn="base" latinLnBrk="0" hangingPunct="0">
              <a:spcBef>
                <a:spcPct val="0"/>
              </a:spcBef>
              <a:spcAft>
                <a:spcPts val="600"/>
              </a:spcAft>
              <a:buClr>
                <a:schemeClr val="accent2"/>
              </a:buClr>
              <a:buFont typeface="Arial" pitchFamily="34" charset="0"/>
              <a:buChar char="–"/>
              <a:defRPr lang="en-US" sz="1200" b="0" kern="1200" dirty="0" smtClean="0">
                <a:solidFill>
                  <a:schemeClr val="tx1"/>
                </a:solidFill>
                <a:latin typeface="Arial" pitchFamily="34" charset="0"/>
                <a:ea typeface="+mn-ea"/>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73050"/>
            <a:ext cx="3008313" cy="1162050"/>
          </a:xfrm>
        </p:spPr>
        <p:txBody>
          <a:bodyPr anchor="b"/>
          <a:lstStyle>
            <a:lvl1pPr algn="l">
              <a:defRPr sz="2200" b="1"/>
            </a:lvl1pPr>
          </a:lstStyle>
          <a:p>
            <a:r>
              <a:rPr lang="en-US" smtClean="0"/>
              <a:t>Click to edit Master title style</a:t>
            </a:r>
            <a:endParaRPr lang="en-US" dirty="0"/>
          </a:p>
        </p:txBody>
      </p:sp>
      <p:sp>
        <p:nvSpPr>
          <p:cNvPr id="3" name="Content Placeholder 2"/>
          <p:cNvSpPr>
            <a:spLocks noGrp="1"/>
          </p:cNvSpPr>
          <p:nvPr>
            <p:ph idx="1"/>
          </p:nvPr>
        </p:nvSpPr>
        <p:spPr>
          <a:xfrm>
            <a:off x="3575050" y="273051"/>
            <a:ext cx="5111751" cy="5853113"/>
          </a:xfrm>
        </p:spPr>
        <p:txBody>
          <a:bodyPr>
            <a:noAutofit/>
          </a:bodyPr>
          <a:lstStyle>
            <a:lvl1pPr>
              <a:defRPr sz="1600"/>
            </a:lvl1pPr>
            <a:lvl2pPr>
              <a:defRPr sz="1400"/>
            </a:lvl2pPr>
            <a:lvl3pPr>
              <a:defRPr sz="1200"/>
            </a:lvl3pPr>
            <a:lvl4pPr>
              <a:defRPr sz="1100"/>
            </a:lvl4pPr>
            <a:lvl5pPr>
              <a:defRPr sz="11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457201" y="1573620"/>
            <a:ext cx="3008313" cy="507831"/>
          </a:xfrm>
        </p:spPr>
        <p:txBody>
          <a:bodyPr/>
          <a:lstStyle>
            <a:lvl1pPr marL="0" indent="0">
              <a:buNone/>
              <a:defRPr sz="1400" b="1"/>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a:p>
            <a:pPr lvl="1"/>
            <a:r>
              <a:rPr lang="en-US" smtClean="0"/>
              <a:t>Second level</a:t>
            </a:r>
          </a:p>
        </p:txBody>
      </p:sp>
      <p:pic>
        <p:nvPicPr>
          <p:cNvPr id="8" name="Picture 4" descr="capgemini_rgb-[Converted]"/>
          <p:cNvPicPr>
            <a:picLocks noChangeAspect="1" noChangeArrowheads="1"/>
          </p:cNvPicPr>
          <p:nvPr userDrawn="1"/>
        </p:nvPicPr>
        <p:blipFill>
          <a:blip r:embed="rId2" cstate="print">
            <a:extLst>
              <a:ext uri="{28A0092B-C50C-407E-A947-70E740481C1C}">
                <a14:useLocalDpi xmlns="" xmlns:a14="http://schemas.microsoft.com/office/drawing/2010/main" val="0"/>
              </a:ext>
            </a:extLst>
          </a:blip>
          <a:srcRect/>
          <a:stretch>
            <a:fillRect/>
          </a:stretch>
        </p:blipFill>
        <p:spPr bwMode="gray">
          <a:xfrm>
            <a:off x="273049" y="6451601"/>
            <a:ext cx="1289051" cy="301625"/>
          </a:xfrm>
          <a:prstGeom prst="rect">
            <a:avLst/>
          </a:prstGeom>
          <a:noFill/>
          <a:ln w="9525">
            <a:noFill/>
            <a:miter lim="800000"/>
            <a:headEnd/>
            <a:tailEnd/>
          </a:ln>
        </p:spPr>
      </p:pic>
      <p:sp>
        <p:nvSpPr>
          <p:cNvPr id="9" name="Text Box 5"/>
          <p:cNvSpPr txBox="1">
            <a:spLocks noChangeArrowheads="1"/>
          </p:cNvSpPr>
          <p:nvPr userDrawn="1"/>
        </p:nvSpPr>
        <p:spPr bwMode="gray">
          <a:xfrm>
            <a:off x="1571625" y="6491288"/>
            <a:ext cx="1311578" cy="223138"/>
          </a:xfrm>
          <a:prstGeom prst="rect">
            <a:avLst/>
          </a:prstGeom>
          <a:noFill/>
          <a:ln w="19050">
            <a:noFill/>
            <a:miter lim="800000"/>
            <a:headEnd/>
            <a:tailEnd/>
          </a:ln>
          <a:effectLst/>
        </p:spPr>
        <p:txBody>
          <a:bodyPr wrap="none">
            <a:spAutoFit/>
          </a:bodyPr>
          <a:lstStyle/>
          <a:p>
            <a:pPr eaLnBrk="0" hangingPunct="0">
              <a:lnSpc>
                <a:spcPct val="85000"/>
              </a:lnSpc>
            </a:pPr>
            <a:r>
              <a:rPr lang="en-US" sz="1000" dirty="0">
                <a:solidFill>
                  <a:srgbClr val="969696"/>
                </a:solidFill>
              </a:rPr>
              <a:t>In collaboration with</a:t>
            </a:r>
          </a:p>
        </p:txBody>
      </p:sp>
      <p:sp>
        <p:nvSpPr>
          <p:cNvPr id="10" name="Rectangle 6"/>
          <p:cNvSpPr>
            <a:spLocks noChangeArrowheads="1"/>
          </p:cNvSpPr>
          <p:nvPr userDrawn="1"/>
        </p:nvSpPr>
        <p:spPr bwMode="gray">
          <a:xfrm>
            <a:off x="2927351" y="6400801"/>
            <a:ext cx="1020763" cy="403225"/>
          </a:xfrm>
          <a:prstGeom prst="rect">
            <a:avLst/>
          </a:prstGeom>
          <a:noFill/>
          <a:ln w="19050">
            <a:solidFill>
              <a:srgbClr val="B2B2B2"/>
            </a:solidFill>
            <a:prstDash val="sysDot"/>
            <a:miter lim="800000"/>
            <a:headEnd/>
            <a:tailEnd/>
          </a:ln>
          <a:effectLst/>
        </p:spPr>
        <p:txBody>
          <a:bodyPr wrap="none" anchor="ctr"/>
          <a:lstStyle/>
          <a:p>
            <a:r>
              <a:rPr lang="en-US" sz="1000" dirty="0">
                <a:solidFill>
                  <a:srgbClr val="969696"/>
                </a:solidFill>
              </a:rPr>
              <a:t>Client or</a:t>
            </a:r>
            <a:br>
              <a:rPr lang="en-US" sz="1000" dirty="0">
                <a:solidFill>
                  <a:srgbClr val="969696"/>
                </a:solidFill>
              </a:rPr>
            </a:br>
            <a:r>
              <a:rPr lang="en-US" sz="1000" dirty="0">
                <a:solidFill>
                  <a:srgbClr val="969696"/>
                </a:solidFill>
              </a:rPr>
              <a:t>Partner logo</a:t>
            </a:r>
          </a:p>
        </p:txBody>
      </p:sp>
      <p:sp>
        <p:nvSpPr>
          <p:cNvPr id="11" name="Line 7"/>
          <p:cNvSpPr>
            <a:spLocks noChangeShapeType="1"/>
          </p:cNvSpPr>
          <p:nvPr userDrawn="1"/>
        </p:nvSpPr>
        <p:spPr bwMode="gray">
          <a:xfrm>
            <a:off x="8691563" y="6500813"/>
            <a:ext cx="0" cy="239712"/>
          </a:xfrm>
          <a:prstGeom prst="line">
            <a:avLst/>
          </a:prstGeom>
          <a:noFill/>
          <a:ln w="9525">
            <a:solidFill>
              <a:srgbClr val="969696"/>
            </a:solidFill>
            <a:round/>
            <a:headEnd/>
            <a:tailEnd/>
          </a:ln>
          <a:effectLst/>
        </p:spPr>
        <p:txBody>
          <a:bodyPr wrap="none" anchor="ctr"/>
          <a:lstStyle/>
          <a:p>
            <a:endParaRPr lang="en-US" dirty="0"/>
          </a:p>
        </p:txBody>
      </p:sp>
      <p:sp>
        <p:nvSpPr>
          <p:cNvPr id="12" name="Text Box 8"/>
          <p:cNvSpPr txBox="1">
            <a:spLocks noChangeArrowheads="1"/>
          </p:cNvSpPr>
          <p:nvPr userDrawn="1"/>
        </p:nvSpPr>
        <p:spPr bwMode="gray">
          <a:xfrm>
            <a:off x="8691564" y="6499225"/>
            <a:ext cx="452437" cy="242888"/>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800">
                <a:solidFill>
                  <a:srgbClr val="969696"/>
                </a:solidFill>
                <a:latin typeface="Arial Narrow" pitchFamily="34" charset="0"/>
              </a:rPr>
              <a:pPr eaLnBrk="0" hangingPunct="0">
                <a:lnSpc>
                  <a:spcPct val="85000"/>
                </a:lnSpc>
              </a:pPr>
              <a:t>‹#›</a:t>
            </a:fld>
            <a:endParaRPr lang="en-US" sz="800" dirty="0">
              <a:solidFill>
                <a:srgbClr val="969696"/>
              </a:solidFill>
              <a:latin typeface="Arial Narrow" pitchFamily="34" charset="0"/>
            </a:endParaRPr>
          </a:p>
        </p:txBody>
      </p:sp>
      <p:sp>
        <p:nvSpPr>
          <p:cNvPr id="13" name="Text Box 9"/>
          <p:cNvSpPr txBox="1">
            <a:spLocks noChangeArrowheads="1"/>
          </p:cNvSpPr>
          <p:nvPr userDrawn="1"/>
        </p:nvSpPr>
        <p:spPr bwMode="gray">
          <a:xfrm>
            <a:off x="4106863" y="6484938"/>
            <a:ext cx="4551363" cy="275460"/>
          </a:xfrm>
          <a:prstGeom prst="rect">
            <a:avLst/>
          </a:prstGeom>
          <a:noFill/>
          <a:ln w="12700" algn="ctr">
            <a:noFill/>
            <a:miter lim="800000"/>
            <a:headEnd/>
            <a:tailEnd type="none" w="lg" len="lg"/>
          </a:ln>
          <a:effectLst/>
        </p:spPr>
        <p:txBody>
          <a:bodyPr>
            <a:spAutoFit/>
          </a:bodyPr>
          <a:lstStyle/>
          <a:p>
            <a:pPr algn="r" eaLnBrk="0" hangingPunct="0">
              <a:lnSpc>
                <a:spcPct val="85000"/>
              </a:lnSpc>
            </a:pPr>
            <a:r>
              <a:rPr lang="en-US" sz="800" dirty="0">
                <a:solidFill>
                  <a:srgbClr val="969696"/>
                </a:solidFill>
                <a:latin typeface="Arial Narrow" pitchFamily="34" charset="0"/>
              </a:rPr>
              <a:t>DOCUMENT TITLE</a:t>
            </a:r>
          </a:p>
          <a:p>
            <a:pPr algn="r" eaLnBrk="0" hangingPunct="0">
              <a:lnSpc>
                <a:spcPct val="85000"/>
              </a:lnSpc>
            </a:pPr>
            <a:r>
              <a:rPr lang="en-US" sz="600" dirty="0" smtClean="0">
                <a:solidFill>
                  <a:srgbClr val="969696"/>
                </a:solidFill>
                <a:latin typeface="Arial Narrow" pitchFamily="34" charset="0"/>
              </a:rPr>
              <a:t>The information contained in this document is proprietary. Copyright © 2011 Capgemini. All rights reserved.</a:t>
            </a:r>
            <a:endParaRPr lang="en-US" sz="600" dirty="0">
              <a:solidFill>
                <a:srgbClr val="969696"/>
              </a:solidFill>
              <a:latin typeface="Arial Narrow" pitchFamily="34" charset="0"/>
            </a:endParaRPr>
          </a:p>
        </p:txBody>
      </p:sp>
      <p:cxnSp>
        <p:nvCxnSpPr>
          <p:cNvPr id="16" name="Straight Connector 15"/>
          <p:cNvCxnSpPr/>
          <p:nvPr userDrawn="1"/>
        </p:nvCxnSpPr>
        <p:spPr>
          <a:xfrm rot="5400000">
            <a:off x="524707" y="3164093"/>
            <a:ext cx="5987940" cy="1588"/>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1792288" y="1201483"/>
            <a:ext cx="5486400" cy="49244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Click icon to add picture</a:t>
            </a:r>
            <a:endParaRPr lang="en-US" dirty="0"/>
          </a:p>
        </p:txBody>
      </p:sp>
      <p:sp>
        <p:nvSpPr>
          <p:cNvPr id="4" name="Text Placeholder 3"/>
          <p:cNvSpPr>
            <a:spLocks noGrp="1"/>
          </p:cNvSpPr>
          <p:nvPr>
            <p:ph type="body" sz="half" idx="2"/>
          </p:nvPr>
        </p:nvSpPr>
        <p:spPr>
          <a:xfrm>
            <a:off x="1792288" y="5367338"/>
            <a:ext cx="5486400" cy="215444"/>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8" name="Title Placeholder 1"/>
          <p:cNvSpPr>
            <a:spLocks noGrp="1"/>
          </p:cNvSpPr>
          <p:nvPr>
            <p:ph type="title"/>
          </p:nvPr>
        </p:nvSpPr>
        <p:spPr>
          <a:xfrm>
            <a:off x="320040" y="25263"/>
            <a:ext cx="8503920" cy="822960"/>
          </a:xfrm>
          <a:prstGeom prst="rect">
            <a:avLst/>
          </a:prstGeom>
          <a:noFill/>
          <a:ln w="9525" algn="ctr">
            <a:noFill/>
            <a:miter lim="800000"/>
            <a:headEnd/>
            <a:tailEnd/>
          </a:ln>
          <a:effectLst/>
        </p:spPr>
        <p:txBody>
          <a:bodyPr vert="horz" wrap="square" lIns="0" tIns="0" rIns="0" bIns="0" numCol="1" anchor="ctr" anchorCtr="0" compatLnSpc="1">
            <a:prstTxWarp prst="textNoShape">
              <a:avLst/>
            </a:prstTxWarp>
          </a:bodyPr>
          <a:lstStyle/>
          <a:p>
            <a:r>
              <a:rPr lang="en-US" smtClean="0"/>
              <a:t>Click to edit Master title style</a:t>
            </a:r>
            <a:endParaRPr 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r">
              <a:defRPr/>
            </a:lvl1pPr>
          </a:lstStyle>
          <a:p>
            <a:r>
              <a:rPr lang="en-US" smtClean="0"/>
              <a:t>Click to edit Master title style</a:t>
            </a:r>
            <a:endParaRPr lang="en-US"/>
          </a:p>
        </p:txBody>
      </p:sp>
      <p:sp>
        <p:nvSpPr>
          <p:cNvPr id="3" name="Vertical Text Placeholder 2"/>
          <p:cNvSpPr>
            <a:spLocks noGrp="1"/>
          </p:cNvSpPr>
          <p:nvPr>
            <p:ph type="body" orient="vert" idx="1"/>
          </p:nvPr>
        </p:nvSpPr>
        <p:spPr>
          <a:xfrm>
            <a:off x="7438968" y="1005841"/>
            <a:ext cx="1384995" cy="5182309"/>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15" name="Text Box 5"/>
          <p:cNvSpPr txBox="1">
            <a:spLocks noChangeArrowheads="1"/>
          </p:cNvSpPr>
          <p:nvPr userDrawn="1"/>
        </p:nvSpPr>
        <p:spPr bwMode="gray">
          <a:xfrm rot="5400000">
            <a:off x="-381606" y="2135545"/>
            <a:ext cx="1311578" cy="223138"/>
          </a:xfrm>
          <a:prstGeom prst="rect">
            <a:avLst/>
          </a:prstGeom>
          <a:noFill/>
          <a:ln w="19050">
            <a:noFill/>
            <a:miter lim="800000"/>
            <a:headEnd/>
            <a:tailEnd/>
          </a:ln>
          <a:effectLst/>
        </p:spPr>
        <p:txBody>
          <a:bodyPr wrap="none">
            <a:spAutoFit/>
          </a:bodyPr>
          <a:lstStyle/>
          <a:p>
            <a:pPr eaLnBrk="0" hangingPunct="0">
              <a:lnSpc>
                <a:spcPct val="85000"/>
              </a:lnSpc>
            </a:pPr>
            <a:r>
              <a:rPr lang="en-US" sz="1000" dirty="0">
                <a:solidFill>
                  <a:srgbClr val="969696"/>
                </a:solidFill>
              </a:rPr>
              <a:t>In collaboration with</a:t>
            </a:r>
          </a:p>
        </p:txBody>
      </p:sp>
      <p:sp>
        <p:nvSpPr>
          <p:cNvPr id="16" name="Rectangle 6"/>
          <p:cNvSpPr>
            <a:spLocks noChangeArrowheads="1"/>
          </p:cNvSpPr>
          <p:nvPr userDrawn="1"/>
        </p:nvSpPr>
        <p:spPr bwMode="gray">
          <a:xfrm rot="5400000">
            <a:off x="-236198" y="3261528"/>
            <a:ext cx="1020763" cy="403225"/>
          </a:xfrm>
          <a:prstGeom prst="rect">
            <a:avLst/>
          </a:prstGeom>
          <a:noFill/>
          <a:ln w="19050">
            <a:solidFill>
              <a:srgbClr val="B2B2B2"/>
            </a:solidFill>
            <a:prstDash val="sysDot"/>
            <a:miter lim="800000"/>
            <a:headEnd/>
            <a:tailEnd/>
          </a:ln>
          <a:effectLst/>
        </p:spPr>
        <p:txBody>
          <a:bodyPr wrap="none" anchor="ctr"/>
          <a:lstStyle/>
          <a:p>
            <a:r>
              <a:rPr lang="en-US" sz="1000" dirty="0">
                <a:solidFill>
                  <a:srgbClr val="969696"/>
                </a:solidFill>
              </a:rPr>
              <a:t>Client or</a:t>
            </a:r>
            <a:br>
              <a:rPr lang="en-US" sz="1000" dirty="0">
                <a:solidFill>
                  <a:srgbClr val="969696"/>
                </a:solidFill>
              </a:rPr>
            </a:br>
            <a:r>
              <a:rPr lang="en-US" sz="1000" dirty="0">
                <a:solidFill>
                  <a:srgbClr val="969696"/>
                </a:solidFill>
              </a:rPr>
              <a:t>Partner logo</a:t>
            </a:r>
          </a:p>
        </p:txBody>
      </p:sp>
      <p:sp>
        <p:nvSpPr>
          <p:cNvPr id="17" name="Line 7"/>
          <p:cNvSpPr>
            <a:spLocks noChangeShapeType="1"/>
          </p:cNvSpPr>
          <p:nvPr userDrawn="1"/>
        </p:nvSpPr>
        <p:spPr bwMode="gray">
          <a:xfrm rot="5400000">
            <a:off x="274183" y="6303903"/>
            <a:ext cx="0" cy="239712"/>
          </a:xfrm>
          <a:prstGeom prst="line">
            <a:avLst/>
          </a:prstGeom>
          <a:noFill/>
          <a:ln w="9525">
            <a:solidFill>
              <a:srgbClr val="969696"/>
            </a:solidFill>
            <a:round/>
            <a:headEnd/>
            <a:tailEnd/>
          </a:ln>
          <a:effectLst/>
        </p:spPr>
        <p:txBody>
          <a:bodyPr wrap="none" anchor="ctr"/>
          <a:lstStyle/>
          <a:p>
            <a:endParaRPr lang="en-US" dirty="0"/>
          </a:p>
        </p:txBody>
      </p:sp>
      <p:sp>
        <p:nvSpPr>
          <p:cNvPr id="18" name="Text Box 8"/>
          <p:cNvSpPr txBox="1">
            <a:spLocks noChangeArrowheads="1"/>
          </p:cNvSpPr>
          <p:nvPr userDrawn="1"/>
        </p:nvSpPr>
        <p:spPr bwMode="gray">
          <a:xfrm rot="5400000">
            <a:off x="47966" y="6528534"/>
            <a:ext cx="452437" cy="242888"/>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800">
                <a:solidFill>
                  <a:srgbClr val="969696"/>
                </a:solidFill>
                <a:latin typeface="Arial Narrow" pitchFamily="34" charset="0"/>
              </a:rPr>
              <a:pPr eaLnBrk="0" hangingPunct="0">
                <a:lnSpc>
                  <a:spcPct val="85000"/>
                </a:lnSpc>
              </a:pPr>
              <a:t>‹#›</a:t>
            </a:fld>
            <a:endParaRPr lang="en-US" sz="800" dirty="0">
              <a:solidFill>
                <a:srgbClr val="969696"/>
              </a:solidFill>
              <a:latin typeface="Arial Narrow" pitchFamily="34" charset="0"/>
            </a:endParaRPr>
          </a:p>
        </p:txBody>
      </p:sp>
      <p:sp>
        <p:nvSpPr>
          <p:cNvPr id="19" name="Text Box 9"/>
          <p:cNvSpPr txBox="1">
            <a:spLocks noChangeArrowheads="1"/>
          </p:cNvSpPr>
          <p:nvPr userDrawn="1"/>
        </p:nvSpPr>
        <p:spPr bwMode="gray">
          <a:xfrm rot="5400000">
            <a:off x="-666778" y="5272489"/>
            <a:ext cx="1881922" cy="353943"/>
          </a:xfrm>
          <a:prstGeom prst="rect">
            <a:avLst/>
          </a:prstGeom>
          <a:noFill/>
          <a:ln w="12700" algn="ctr">
            <a:noFill/>
            <a:miter lim="800000"/>
            <a:headEnd/>
            <a:tailEnd type="none" w="lg" len="lg"/>
          </a:ln>
          <a:effectLst/>
        </p:spPr>
        <p:txBody>
          <a:bodyPr wrap="square">
            <a:spAutoFit/>
          </a:bodyPr>
          <a:lstStyle/>
          <a:p>
            <a:pPr algn="r" eaLnBrk="0" hangingPunct="0">
              <a:lnSpc>
                <a:spcPct val="85000"/>
              </a:lnSpc>
            </a:pPr>
            <a:r>
              <a:rPr lang="en-US" sz="800" dirty="0">
                <a:solidFill>
                  <a:srgbClr val="969696"/>
                </a:solidFill>
                <a:latin typeface="Arial Narrow" pitchFamily="34" charset="0"/>
              </a:rPr>
              <a:t>DOCUMENT TITLE</a:t>
            </a:r>
          </a:p>
          <a:p>
            <a:pPr algn="r" eaLnBrk="0" hangingPunct="0">
              <a:lnSpc>
                <a:spcPct val="85000"/>
              </a:lnSpc>
            </a:pPr>
            <a:r>
              <a:rPr lang="en-US" sz="600" dirty="0" smtClean="0">
                <a:solidFill>
                  <a:srgbClr val="969696"/>
                </a:solidFill>
                <a:latin typeface="Arial Narrow" pitchFamily="34" charset="0"/>
              </a:rPr>
              <a:t>The information contained in this document is proprietary. Copyright © 2012 Capgemini. All rights reserved.</a:t>
            </a:r>
            <a:endParaRPr lang="en-US" sz="600" dirty="0">
              <a:solidFill>
                <a:srgbClr val="969696"/>
              </a:solidFill>
              <a:latin typeface="Arial Narrow" pitchFamily="34" charset="0"/>
            </a:endParaRPr>
          </a:p>
        </p:txBody>
      </p:sp>
      <p:sp>
        <p:nvSpPr>
          <p:cNvPr id="2" name="Vertical Title 1"/>
          <p:cNvSpPr>
            <a:spLocks noGrp="1"/>
          </p:cNvSpPr>
          <p:nvPr userDrawn="1">
            <p:ph type="title" orient="vert"/>
          </p:nvPr>
        </p:nvSpPr>
        <p:spPr>
          <a:xfrm>
            <a:off x="8144556" y="274639"/>
            <a:ext cx="925033" cy="6285819"/>
          </a:xfrm>
        </p:spPr>
        <p:txBody>
          <a:bodyPr vert="eaVert"/>
          <a:lstStyle/>
          <a:p>
            <a:r>
              <a:rPr lang="en-US" smtClean="0"/>
              <a:t>Click to edit Master title style</a:t>
            </a:r>
            <a:endParaRPr lang="en-US" dirty="0"/>
          </a:p>
        </p:txBody>
      </p:sp>
      <p:sp>
        <p:nvSpPr>
          <p:cNvPr id="3" name="Vertical Text Placeholder 2"/>
          <p:cNvSpPr>
            <a:spLocks noGrp="1"/>
          </p:cNvSpPr>
          <p:nvPr userDrawn="1">
            <p:ph type="body" orient="vert" idx="1"/>
          </p:nvPr>
        </p:nvSpPr>
        <p:spPr>
          <a:xfrm>
            <a:off x="6586951" y="274639"/>
            <a:ext cx="1384995" cy="6285819"/>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grpSp>
        <p:nvGrpSpPr>
          <p:cNvPr id="13" name="Group 12"/>
          <p:cNvGrpSpPr/>
          <p:nvPr userDrawn="1"/>
        </p:nvGrpSpPr>
        <p:grpSpPr>
          <a:xfrm>
            <a:off x="8069937" y="1589"/>
            <a:ext cx="1" cy="6858000"/>
            <a:chOff x="8069935" y="1589"/>
            <a:chExt cx="1" cy="6858000"/>
          </a:xfrm>
        </p:grpSpPr>
        <p:sp>
          <p:nvSpPr>
            <p:cNvPr id="8" name="Line 12"/>
            <p:cNvSpPr>
              <a:spLocks noChangeShapeType="1"/>
            </p:cNvSpPr>
            <p:nvPr userDrawn="1"/>
          </p:nvSpPr>
          <p:spPr bwMode="gray">
            <a:xfrm rot="5400000">
              <a:off x="4640935" y="3430589"/>
              <a:ext cx="6858000" cy="0"/>
            </a:xfrm>
            <a:prstGeom prst="line">
              <a:avLst/>
            </a:prstGeom>
            <a:noFill/>
            <a:ln w="9525">
              <a:solidFill>
                <a:schemeClr val="bg2"/>
              </a:solidFill>
              <a:round/>
              <a:headEnd/>
              <a:tailEnd/>
            </a:ln>
            <a:effectLst/>
          </p:spPr>
          <p:txBody>
            <a:bodyPr wrap="none" anchor="ctr"/>
            <a:lstStyle/>
            <a:p>
              <a:endParaRPr lang="en-US" dirty="0"/>
            </a:p>
          </p:txBody>
        </p:sp>
        <p:sp>
          <p:nvSpPr>
            <p:cNvPr id="9" name="Line 13"/>
            <p:cNvSpPr>
              <a:spLocks noChangeShapeType="1"/>
            </p:cNvSpPr>
            <p:nvPr userDrawn="1"/>
          </p:nvSpPr>
          <p:spPr bwMode="gray">
            <a:xfrm rot="5400000">
              <a:off x="6861848" y="1482726"/>
              <a:ext cx="2416175" cy="0"/>
            </a:xfrm>
            <a:prstGeom prst="line">
              <a:avLst/>
            </a:prstGeom>
            <a:noFill/>
            <a:ln w="28575">
              <a:solidFill>
                <a:schemeClr val="bg2"/>
              </a:solidFill>
              <a:round/>
              <a:headEnd/>
              <a:tailEnd/>
            </a:ln>
            <a:effectLst/>
          </p:spPr>
          <p:txBody>
            <a:bodyPr wrap="none" anchor="ctr"/>
            <a:lstStyle/>
            <a:p>
              <a:endParaRPr lang="en-US" dirty="0"/>
            </a:p>
          </p:txBody>
        </p:sp>
      </p:grpSp>
      <p:pic>
        <p:nvPicPr>
          <p:cNvPr id="14" name="Picture 4" descr="capgemini_rgb-[Converted]"/>
          <p:cNvPicPr>
            <a:picLocks noChangeAspect="1" noChangeArrowheads="1"/>
          </p:cNvPicPr>
          <p:nvPr userDrawn="1"/>
        </p:nvPicPr>
        <p:blipFill>
          <a:blip r:embed="rId2" cstate="print">
            <a:extLst>
              <a:ext uri="{28A0092B-C50C-407E-A947-70E740481C1C}">
                <a14:useLocalDpi xmlns="" xmlns:a14="http://schemas.microsoft.com/office/drawing/2010/main" val="0"/>
              </a:ext>
            </a:extLst>
          </a:blip>
          <a:srcRect/>
          <a:stretch>
            <a:fillRect/>
          </a:stretch>
        </p:blipFill>
        <p:spPr bwMode="gray">
          <a:xfrm rot="5400000">
            <a:off x="-370342" y="768352"/>
            <a:ext cx="1289050" cy="301625"/>
          </a:xfrm>
          <a:prstGeom prst="rect">
            <a:avLst/>
          </a:prstGeom>
          <a:noFill/>
          <a:ln w="9525">
            <a:noFill/>
            <a:miter lim="800000"/>
            <a:headEnd/>
            <a:tailEnd/>
          </a:ln>
        </p:spPr>
      </p:pic>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1" y="3"/>
          <a:ext cx="135749" cy="143985"/>
        </p:xfrm>
        <a:graphic>
          <a:graphicData uri="http://schemas.openxmlformats.org/presentationml/2006/ole">
            <p:oleObj spid="_x0000_s72287" name="think-cell Slide" r:id="rId7" imgW="360" imgH="360" progId="">
              <p:embed/>
            </p:oleObj>
          </a:graphicData>
        </a:graphic>
      </p:graphicFrame>
      <p:grpSp>
        <p:nvGrpSpPr>
          <p:cNvPr id="2" name="Group 351"/>
          <p:cNvGrpSpPr/>
          <p:nvPr userDrawn="1">
            <p:custDataLst>
              <p:tags r:id="rId2"/>
            </p:custDataLst>
          </p:nvPr>
        </p:nvGrpSpPr>
        <p:grpSpPr>
          <a:xfrm>
            <a:off x="5337166" y="3258545"/>
            <a:ext cx="3416820" cy="2118522"/>
            <a:chOff x="5511798" y="3584333"/>
            <a:chExt cx="4818106" cy="2816468"/>
          </a:xfrm>
        </p:grpSpPr>
        <p:grpSp>
          <p:nvGrpSpPr>
            <p:cNvPr id="3" name="Group 54"/>
            <p:cNvGrpSpPr/>
            <p:nvPr userDrawn="1">
              <p:custDataLst>
                <p:tags r:id="rId4"/>
              </p:custDataLst>
            </p:nvPr>
          </p:nvGrpSpPr>
          <p:grpSpPr>
            <a:xfrm>
              <a:off x="5511798" y="3584333"/>
              <a:ext cx="4818106" cy="2816468"/>
              <a:chOff x="-6346822" y="2366960"/>
              <a:chExt cx="5613397" cy="3281360"/>
            </a:xfrm>
          </p:grpSpPr>
          <p:grpSp>
            <p:nvGrpSpPr>
              <p:cNvPr id="4"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5" name="Group 21"/>
            <p:cNvGrpSpPr/>
            <p:nvPr userDrawn="1">
              <p:custDataLst>
                <p:tags r:id="rId5"/>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6" name="Rectangle 9"/>
          <p:cNvSpPr>
            <a:spLocks noChangeArrowheads="1"/>
          </p:cNvSpPr>
          <p:nvPr userDrawn="1">
            <p:custDataLst>
              <p:tags r:id="rId3"/>
            </p:custDataLst>
          </p:nvPr>
        </p:nvSpPr>
        <p:spPr bwMode="gray">
          <a:xfrm>
            <a:off x="1031966" y="3827544"/>
            <a:ext cx="4074108"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l"/>
            <a:r>
              <a:rPr lang="en-US" sz="1000" dirty="0" smtClean="0">
                <a:solidFill>
                  <a:schemeClr val="bg1"/>
                </a:solidFill>
                <a:latin typeface="Arial" pitchFamily="34" charset="0"/>
                <a:cs typeface="Arial" pitchFamily="34" charset="0"/>
              </a:rPr>
              <a:t>With 180,000 people in over 40 countries, Capgemini is one of the world's foremost providers of consulting, technology and outsourcing services. The Group reported 2014 global revenues of EUR 10.573 billion (about $14 billion USD at 2014 average rate). </a:t>
            </a:r>
          </a:p>
          <a:p>
            <a:pPr marL="0" indent="0" algn="l"/>
            <a:r>
              <a:rPr lang="en-US" sz="1000" dirty="0" smtClean="0">
                <a:solidFill>
                  <a:schemeClr val="bg1"/>
                </a:solidFill>
                <a:latin typeface="Arial" pitchFamily="34" charset="0"/>
                <a:cs typeface="Arial" pitchFamily="34" charset="0"/>
              </a:rPr>
              <a:t>Together with its clients, Capgemini creates and delivers business, technology and digital solutions that fit their needs, enabling them to achieve innovation and competitiveness. A deeply multicultural organization, Capgemini has developed its own way of working, the Collaborative Business Experience™, and draws on Rightshore</a:t>
            </a:r>
            <a:r>
              <a:rPr lang="en-US" sz="1000"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its worldwide delivery model. Learn more about us at www.capgemini.com.</a:t>
            </a:r>
          </a:p>
          <a:p>
            <a:pPr marL="0" indent="0" algn="l"/>
            <a:endParaRPr lang="en-US" sz="1050" dirty="0" smtClean="0">
              <a:solidFill>
                <a:schemeClr val="bg1"/>
              </a:solidFill>
              <a:latin typeface="Arial" pitchFamily="34" charset="0"/>
              <a:cs typeface="Arial" pitchFamily="34" charset="0"/>
            </a:endParaRPr>
          </a:p>
          <a:p>
            <a:pPr marL="0" indent="0" algn="just"/>
            <a:r>
              <a:rPr lang="en-US" sz="900" i="1" dirty="0" smtClean="0">
                <a:solidFill>
                  <a:schemeClr val="bg1"/>
                </a:solidFill>
                <a:latin typeface="Arial" pitchFamily="34" charset="0"/>
                <a:cs typeface="Arial" pitchFamily="34" charset="0"/>
              </a:rPr>
              <a:t>Rightshore</a:t>
            </a:r>
            <a:r>
              <a:rPr lang="en-US" sz="900" i="1" baseline="30000" dirty="0" smtClean="0">
                <a:solidFill>
                  <a:schemeClr val="bg1"/>
                </a:solidFill>
                <a:latin typeface="Arial" pitchFamily="34" charset="0"/>
                <a:cs typeface="Arial" pitchFamily="34" charset="0"/>
              </a:rPr>
              <a:t>®</a:t>
            </a:r>
            <a:r>
              <a:rPr lang="en-US" sz="900" i="1" dirty="0" smtClean="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339" name="Image 337" descr="CBE_Label_ppt.png"/>
          <p:cNvPicPr>
            <a:picLocks noChangeAspect="1"/>
          </p:cNvPicPr>
          <p:nvPr userDrawn="1"/>
        </p:nvPicPr>
        <p:blipFill>
          <a:blip r:embed="rId8" cstate="print">
            <a:extLst>
              <a:ext uri="{28A0092B-C50C-407E-A947-70E740481C1C}">
                <a14:useLocalDpi xmlns="" xmlns:a14="http://schemas.microsoft.com/office/drawing/2010/main" val="0"/>
              </a:ext>
            </a:extLst>
          </a:blip>
          <a:stretch>
            <a:fillRect/>
          </a:stretch>
        </p:blipFill>
        <p:spPr>
          <a:xfrm>
            <a:off x="775578" y="3395465"/>
            <a:ext cx="519570" cy="523727"/>
          </a:xfrm>
          <a:prstGeom prst="rect">
            <a:avLst/>
          </a:prstGeom>
          <a:noFill/>
          <a:ln>
            <a:noFill/>
          </a:ln>
        </p:spPr>
      </p:pic>
    </p:spTree>
    <p:extLst>
      <p:ext uri="{BB962C8B-B14F-4D97-AF65-F5344CB8AC3E}">
        <p14:creationId xmlns="" xmlns:p14="http://schemas.microsoft.com/office/powerpoint/2010/main" val="162031033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1" y="3"/>
          <a:ext cx="135749" cy="143985"/>
        </p:xfrm>
        <a:graphic>
          <a:graphicData uri="http://schemas.openxmlformats.org/presentationml/2006/ole">
            <p:oleObj spid="_x0000_s57995" name="think-cell Slide" r:id="rId7" imgW="360" imgH="360" progId="">
              <p:embed/>
            </p:oleObj>
          </a:graphicData>
        </a:graphic>
      </p:graphicFrame>
      <p:grpSp>
        <p:nvGrpSpPr>
          <p:cNvPr id="2" name="Group 351"/>
          <p:cNvGrpSpPr/>
          <p:nvPr userDrawn="1">
            <p:custDataLst>
              <p:tags r:id="rId2"/>
            </p:custDataLst>
          </p:nvPr>
        </p:nvGrpSpPr>
        <p:grpSpPr>
          <a:xfrm>
            <a:off x="5337166" y="3258545"/>
            <a:ext cx="3416820" cy="2118522"/>
            <a:chOff x="5511798" y="3584333"/>
            <a:chExt cx="4818106" cy="2816468"/>
          </a:xfrm>
        </p:grpSpPr>
        <p:grpSp>
          <p:nvGrpSpPr>
            <p:cNvPr id="3" name="Group 54"/>
            <p:cNvGrpSpPr/>
            <p:nvPr userDrawn="1">
              <p:custDataLst>
                <p:tags r:id="rId4"/>
              </p:custDataLst>
            </p:nvPr>
          </p:nvGrpSpPr>
          <p:grpSpPr>
            <a:xfrm>
              <a:off x="5511798" y="3584333"/>
              <a:ext cx="4818106" cy="2816468"/>
              <a:chOff x="-6346822" y="2366960"/>
              <a:chExt cx="5613397" cy="3281360"/>
            </a:xfrm>
          </p:grpSpPr>
          <p:grpSp>
            <p:nvGrpSpPr>
              <p:cNvPr id="4"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5" name="Group 21"/>
            <p:cNvGrpSpPr/>
            <p:nvPr userDrawn="1">
              <p:custDataLst>
                <p:tags r:id="rId5"/>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6" name="Rectangle 9"/>
          <p:cNvSpPr>
            <a:spLocks noChangeArrowheads="1"/>
          </p:cNvSpPr>
          <p:nvPr userDrawn="1">
            <p:custDataLst>
              <p:tags r:id="rId3"/>
            </p:custDataLst>
          </p:nvPr>
        </p:nvSpPr>
        <p:spPr bwMode="gray">
          <a:xfrm>
            <a:off x="1031966" y="3827544"/>
            <a:ext cx="4074108"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l"/>
            <a:r>
              <a:rPr lang="en-US" sz="1000" dirty="0" smtClean="0">
                <a:solidFill>
                  <a:schemeClr val="bg1"/>
                </a:solidFill>
                <a:latin typeface="Arial" pitchFamily="34" charset="0"/>
                <a:cs typeface="Arial" pitchFamily="34" charset="0"/>
              </a:rPr>
              <a:t>With 180,000 people in over 40 countries, Capgemini is one of the world's foremost providers of consulting, technology and outsourcing services. The Group reported 2014 global revenues of EUR 10.573 billion (about $14 billion USD at 2014 average rate). </a:t>
            </a:r>
          </a:p>
          <a:p>
            <a:pPr marL="0" indent="0" algn="l"/>
            <a:r>
              <a:rPr lang="en-US" sz="1000" dirty="0" smtClean="0">
                <a:solidFill>
                  <a:schemeClr val="bg1"/>
                </a:solidFill>
                <a:latin typeface="Arial" pitchFamily="34" charset="0"/>
                <a:cs typeface="Arial" pitchFamily="34" charset="0"/>
              </a:rPr>
              <a:t>Together with its clients, Capgemini creates and delivers business, technology and digital solutions that fit their needs, enabling them to achieve innovation and competitiveness. A deeply multicultural organization, Capgemini has developed its own way of working, the Collaborative Business Experience™, and draws on Rightshore</a:t>
            </a:r>
            <a:r>
              <a:rPr lang="en-US" sz="1000"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its worldwide delivery model. Learn more about us at www.capgemini.com.</a:t>
            </a:r>
          </a:p>
          <a:p>
            <a:pPr marL="0" indent="0" algn="l"/>
            <a:endParaRPr lang="en-US" sz="1050" dirty="0" smtClean="0">
              <a:solidFill>
                <a:schemeClr val="bg1"/>
              </a:solidFill>
              <a:latin typeface="Arial" pitchFamily="34" charset="0"/>
              <a:cs typeface="Arial" pitchFamily="34" charset="0"/>
            </a:endParaRPr>
          </a:p>
          <a:p>
            <a:pPr marL="0" indent="0" algn="just"/>
            <a:r>
              <a:rPr lang="en-US" sz="900" i="1" dirty="0" smtClean="0">
                <a:solidFill>
                  <a:schemeClr val="bg1"/>
                </a:solidFill>
                <a:latin typeface="Arial" pitchFamily="34" charset="0"/>
                <a:cs typeface="Arial" pitchFamily="34" charset="0"/>
              </a:rPr>
              <a:t>Rightshore</a:t>
            </a:r>
            <a:r>
              <a:rPr lang="en-US" sz="900" i="1" baseline="30000" dirty="0" smtClean="0">
                <a:solidFill>
                  <a:schemeClr val="bg1"/>
                </a:solidFill>
                <a:latin typeface="Arial" pitchFamily="34" charset="0"/>
                <a:cs typeface="Arial" pitchFamily="34" charset="0"/>
              </a:rPr>
              <a:t>®</a:t>
            </a:r>
            <a:r>
              <a:rPr lang="en-US" sz="900" i="1" dirty="0" smtClean="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339" name="Image 337" descr="CBE_Label_ppt.png"/>
          <p:cNvPicPr>
            <a:picLocks noChangeAspect="1"/>
          </p:cNvPicPr>
          <p:nvPr userDrawn="1"/>
        </p:nvPicPr>
        <p:blipFill>
          <a:blip r:embed="rId8" cstate="print">
            <a:extLst>
              <a:ext uri="{28A0092B-C50C-407E-A947-70E740481C1C}">
                <a14:useLocalDpi xmlns="" xmlns:a14="http://schemas.microsoft.com/office/drawing/2010/main" val="0"/>
              </a:ext>
            </a:extLst>
          </a:blip>
          <a:stretch>
            <a:fillRect/>
          </a:stretch>
        </p:blipFill>
        <p:spPr>
          <a:xfrm>
            <a:off x="775578" y="3395465"/>
            <a:ext cx="519570" cy="523727"/>
          </a:xfrm>
          <a:prstGeom prst="rect">
            <a:avLst/>
          </a:prstGeom>
          <a:noFill/>
          <a:ln>
            <a:noFill/>
          </a:ln>
        </p:spPr>
      </p:pic>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sp>
        <p:nvSpPr>
          <p:cNvPr id="8" name="Rectangle 9"/>
          <p:cNvSpPr>
            <a:spLocks noChangeArrowheads="1"/>
          </p:cNvSpPr>
          <p:nvPr userDrawn="1">
            <p:custDataLst>
              <p:tags r:id="rId2"/>
            </p:custDataLst>
          </p:nvPr>
        </p:nvSpPr>
        <p:spPr bwMode="gray">
          <a:xfrm>
            <a:off x="4584545" y="3083752"/>
            <a:ext cx="4559456"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 name="connsiteX0" fmla="*/ 4514900 w 4514900"/>
              <a:gd name="connsiteY0" fmla="*/ 2132777 h 2132777"/>
              <a:gd name="connsiteX1" fmla="*/ 164137 w 4514900"/>
              <a:gd name="connsiteY1" fmla="*/ 2132777 h 2132777"/>
              <a:gd name="connsiteX2" fmla="*/ 48075 w 4514900"/>
              <a:gd name="connsiteY2" fmla="*/ 2084702 h 2132777"/>
              <a:gd name="connsiteX3" fmla="*/ 0 w 4514900"/>
              <a:gd name="connsiteY3" fmla="*/ 1968640 h 2132777"/>
              <a:gd name="connsiteX4" fmla="*/ 0 w 451490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14900" h="2132777">
                <a:moveTo>
                  <a:pt x="451490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4572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l"/>
            <a:r>
              <a:rPr lang="en-US" sz="1000" dirty="0" smtClean="0">
                <a:solidFill>
                  <a:schemeClr val="bg1"/>
                </a:solidFill>
                <a:latin typeface="Arial" pitchFamily="34" charset="0"/>
                <a:cs typeface="Arial" pitchFamily="34" charset="0"/>
              </a:rPr>
              <a:t>With 180,000 people in over 40 countries, Capgemini is one of the world's foremost providers of consulting, technology and outsourcing services. The Group reported 2014 global revenues of EUR 10.573 billion (about $14 billion USD at 2014 average rate). </a:t>
            </a:r>
          </a:p>
          <a:p>
            <a:pPr marL="0" indent="0" algn="l"/>
            <a:r>
              <a:rPr lang="en-US" sz="1000" dirty="0" smtClean="0">
                <a:solidFill>
                  <a:schemeClr val="bg1"/>
                </a:solidFill>
                <a:latin typeface="Arial" pitchFamily="34" charset="0"/>
                <a:cs typeface="Arial" pitchFamily="34" charset="0"/>
              </a:rPr>
              <a:t>Together with its clients, Capgemini creates and delivers business, technology and digital solutions that fit their needs, enabling them to achieve innovation and competitiveness. A deeply multicultural organization, Capgemini has developed its own way of working, the Collaborative Business Experience™, and draws on Rightshore</a:t>
            </a:r>
            <a:r>
              <a:rPr lang="en-US" sz="1000"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its worldwide delivery model. Learn more about us at www.capgemini.com.</a:t>
            </a:r>
          </a:p>
          <a:p>
            <a:pPr marL="0" indent="0" algn="just"/>
            <a:endParaRPr lang="en-US" sz="1050" dirty="0" smtClean="0">
              <a:solidFill>
                <a:schemeClr val="bg1"/>
              </a:solidFill>
              <a:latin typeface="Arial" pitchFamily="34" charset="0"/>
              <a:cs typeface="Arial" pitchFamily="34" charset="0"/>
            </a:endParaRPr>
          </a:p>
          <a:p>
            <a:pPr marL="0" indent="0" algn="just"/>
            <a:r>
              <a:rPr lang="en-US" sz="900" i="1" dirty="0" smtClean="0">
                <a:solidFill>
                  <a:schemeClr val="bg1"/>
                </a:solidFill>
                <a:latin typeface="Arial" pitchFamily="34" charset="0"/>
                <a:cs typeface="Arial" pitchFamily="34" charset="0"/>
              </a:rPr>
              <a:t>Rightshore</a:t>
            </a:r>
            <a:r>
              <a:rPr lang="en-US" sz="900" i="1" baseline="30000" dirty="0" smtClean="0">
                <a:solidFill>
                  <a:schemeClr val="bg1"/>
                </a:solidFill>
                <a:latin typeface="Arial" pitchFamily="34" charset="0"/>
                <a:cs typeface="Arial" pitchFamily="34" charset="0"/>
              </a:rPr>
              <a:t>®</a:t>
            </a:r>
            <a:r>
              <a:rPr lang="en-US" sz="900" i="1" dirty="0" smtClean="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graphicFrame>
        <p:nvGraphicFramePr>
          <p:cNvPr id="6" name="Object 5" hidden="1"/>
          <p:cNvGraphicFramePr>
            <a:graphicFrameLocks noChangeAspect="1"/>
          </p:cNvGraphicFramePr>
          <p:nvPr/>
        </p:nvGraphicFramePr>
        <p:xfrm>
          <a:off x="1" y="3"/>
          <a:ext cx="135749" cy="143985"/>
        </p:xfrm>
        <a:graphic>
          <a:graphicData uri="http://schemas.openxmlformats.org/presentationml/2006/ole">
            <p:oleObj spid="_x0000_s59019" name="think-cell Slide" r:id="rId4" imgW="360" imgH="360" progId="">
              <p:embed/>
            </p:oleObj>
          </a:graphicData>
        </a:graphic>
      </p:graphicFrame>
      <p:pic>
        <p:nvPicPr>
          <p:cNvPr id="7" name="Image 6" descr="CBE_Label_ppt.png"/>
          <p:cNvPicPr>
            <a:picLocks noChangeAspect="1"/>
          </p:cNvPicPr>
          <p:nvPr userDrawn="1"/>
        </p:nvPicPr>
        <p:blipFill>
          <a:blip r:embed="rId5" cstate="print">
            <a:extLst>
              <a:ext uri="{28A0092B-C50C-407E-A947-70E740481C1C}">
                <a14:useLocalDpi xmlns="" xmlns:a14="http://schemas.microsoft.com/office/drawing/2010/main" val="0"/>
              </a:ext>
            </a:extLst>
          </a:blip>
          <a:stretch>
            <a:fillRect/>
          </a:stretch>
        </p:blipFill>
        <p:spPr>
          <a:xfrm>
            <a:off x="4318149" y="2791400"/>
            <a:ext cx="519570" cy="523727"/>
          </a:xfrm>
          <a:prstGeom prst="rect">
            <a:avLst/>
          </a:prstGeom>
          <a:noFill/>
          <a:ln>
            <a:noFill/>
          </a:ln>
        </p:spPr>
      </p:pic>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6538" cy="158750"/>
        </p:xfrm>
        <a:graphic>
          <a:graphicData uri="http://schemas.openxmlformats.org/presentationml/2006/ole">
            <p:oleObj spid="_x0000_s60043" name="think-cell Slide" r:id="rId3" imgW="360" imgH="360" progId="">
              <p:embed/>
            </p:oleObj>
          </a:graphicData>
        </a:graphic>
      </p:graphicFrame>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marL="233363" indent="-233363">
              <a:defRPr lang="en-US" sz="1600" b="0" kern="1200" dirty="0" smtClean="0">
                <a:solidFill>
                  <a:schemeClr val="tx1"/>
                </a:solidFill>
                <a:latin typeface="Arial" pitchFamily="34" charset="0"/>
                <a:ea typeface="+mn-ea"/>
                <a:cs typeface="Arial" pitchFamily="34" charset="0"/>
              </a:defRPr>
            </a:lvl1pPr>
            <a:lvl2pPr marL="457200" indent="-223838">
              <a:defRPr lang="en-US" sz="1600" b="0" kern="1200" dirty="0" smtClean="0">
                <a:solidFill>
                  <a:schemeClr val="tx1"/>
                </a:solidFill>
                <a:latin typeface="Arial" pitchFamily="34" charset="0"/>
                <a:ea typeface="+mn-ea"/>
                <a:cs typeface="Arial" pitchFamily="34" charset="0"/>
              </a:defRPr>
            </a:lvl2pPr>
            <a:lvl3pPr>
              <a:defRPr lang="en-US" sz="1400" b="0" kern="1200" dirty="0" smtClean="0">
                <a:solidFill>
                  <a:schemeClr val="tx1"/>
                </a:solidFill>
                <a:latin typeface="Arial" pitchFamily="34" charset="0"/>
                <a:ea typeface="+mn-ea"/>
                <a:cs typeface="Arial" pitchFamily="34" charset="0"/>
              </a:defRPr>
            </a:lvl3pPr>
            <a:lvl4pPr>
              <a:defRPr lang="en-US" sz="1200" b="0" kern="1200" dirty="0" smtClean="0">
                <a:solidFill>
                  <a:schemeClr val="tx1"/>
                </a:solidFill>
                <a:latin typeface="Arial" pitchFamily="34" charset="0"/>
                <a:ea typeface="+mn-ea"/>
                <a:cs typeface="Arial" pitchFamily="34" charset="0"/>
              </a:defRPr>
            </a:lvl4pPr>
            <a:lvl5pPr>
              <a:defRPr lang="en-US" sz="1200" b="0" kern="1200" dirty="0">
                <a:solidFill>
                  <a:schemeClr val="tx1"/>
                </a:solidFill>
                <a:latin typeface="Arial" pitchFamily="34" charset="0"/>
                <a:ea typeface="+mn-ea"/>
                <a:cs typeface="Arial" pitchFamily="34" charset="0"/>
              </a:defRPr>
            </a:lvl5pPr>
          </a:lstStyle>
          <a:p>
            <a:pPr marL="233363" lvl="0" indent="-233363" algn="l" defTabSz="914400" rtl="0" eaLnBrk="1" fontAlgn="base" latinLnBrk="0" hangingPunct="1">
              <a:spcBef>
                <a:spcPct val="0"/>
              </a:spcBef>
              <a:spcAft>
                <a:spcPts val="600"/>
              </a:spcAft>
              <a:buClr>
                <a:schemeClr val="accent2"/>
              </a:buClr>
              <a:buFont typeface="Wingdings" pitchFamily="2" charset="2"/>
              <a:buChar char="§"/>
            </a:pPr>
            <a:r>
              <a:rPr lang="en-US" smtClean="0"/>
              <a:t>Click to edit Master text styles</a:t>
            </a:r>
          </a:p>
          <a:p>
            <a:pPr marL="233363" lvl="1" indent="-233363" algn="l" defTabSz="914400" rtl="0" eaLnBrk="1" fontAlgn="base" latinLnBrk="0" hangingPunct="1">
              <a:spcBef>
                <a:spcPct val="0"/>
              </a:spcBef>
              <a:spcAft>
                <a:spcPts val="600"/>
              </a:spcAft>
              <a:buClr>
                <a:schemeClr val="accent2"/>
              </a:buClr>
              <a:buFont typeface="Wingdings" pitchFamily="2" charset="2"/>
              <a:buChar char="§"/>
            </a:pPr>
            <a:r>
              <a:rPr lang="en-US" smtClean="0"/>
              <a:t>Second level</a:t>
            </a:r>
          </a:p>
          <a:p>
            <a:pPr marL="233363" lvl="2" indent="-233363" algn="l" defTabSz="914400" rtl="0" eaLnBrk="1" fontAlgn="base" latinLnBrk="0" hangingPunct="1">
              <a:spcBef>
                <a:spcPct val="0"/>
              </a:spcBef>
              <a:spcAft>
                <a:spcPts val="600"/>
              </a:spcAft>
              <a:buClr>
                <a:schemeClr val="accent2"/>
              </a:buClr>
              <a:buFont typeface="Wingdings" pitchFamily="2" charset="2"/>
              <a:buChar char="§"/>
            </a:pPr>
            <a:r>
              <a:rPr lang="en-US" smtClean="0"/>
              <a:t>Third level</a:t>
            </a:r>
          </a:p>
          <a:p>
            <a:pPr marL="233363" lvl="3" indent="-233363" algn="l" defTabSz="914400" rtl="0" eaLnBrk="1" fontAlgn="base" latinLnBrk="0" hangingPunct="1">
              <a:spcBef>
                <a:spcPct val="0"/>
              </a:spcBef>
              <a:spcAft>
                <a:spcPts val="600"/>
              </a:spcAft>
              <a:buClr>
                <a:schemeClr val="accent2"/>
              </a:buClr>
              <a:buFont typeface="Wingdings" pitchFamily="2" charset="2"/>
              <a:buChar char="§"/>
            </a:pPr>
            <a:r>
              <a:rPr lang="en-US" smtClean="0"/>
              <a:t>Fourth level</a:t>
            </a:r>
          </a:p>
          <a:p>
            <a:pPr marL="233363" lvl="4" indent="-233363" algn="l" defTabSz="914400" rtl="0" eaLnBrk="1" fontAlgn="base" latinLnBrk="0" hangingPunct="1">
              <a:spcBef>
                <a:spcPct val="0"/>
              </a:spcBef>
              <a:spcAft>
                <a:spcPts val="600"/>
              </a:spcAft>
              <a:buClr>
                <a:schemeClr val="accent2"/>
              </a:buClr>
              <a:buFont typeface="Wingdings" pitchFamily="2" charset="2"/>
              <a:buChar char="§"/>
            </a:pPr>
            <a:r>
              <a:rPr lang="en-US" smtClean="0"/>
              <a:t>Fifth level</a:t>
            </a:r>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userDrawn="1">
  <p:cSld name="1_Title Slide 2">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8" cstate="print">
            <a:extLst>
              <a:ext uri="{28A0092B-C50C-407E-A947-70E740481C1C}">
                <a14:useLocalDpi xmlns="" xmlns:a14="http://schemas.microsoft.com/office/drawing/2010/main" val="0"/>
              </a:ext>
            </a:extLst>
          </a:blip>
          <a:srcRect b="7916"/>
          <a:stretch/>
        </p:blipFill>
        <p:spPr>
          <a:xfrm>
            <a:off x="-2" y="1031959"/>
            <a:ext cx="9144001" cy="5616267"/>
          </a:xfrm>
          <a:prstGeom prst="rect">
            <a:avLst/>
          </a:prstGeom>
        </p:spPr>
      </p:pic>
      <p:sp>
        <p:nvSpPr>
          <p:cNvPr id="10" name="Rectangle 7"/>
          <p:cNvSpPr/>
          <p:nvPr userDrawn="1">
            <p:custDataLst>
              <p:tags r:id="rId2"/>
            </p:custDataLst>
          </p:nvPr>
        </p:nvSpPr>
        <p:spPr bwMode="auto">
          <a:xfrm>
            <a:off x="-1" y="-659"/>
            <a:ext cx="9144530" cy="176274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1744042 w 12324337"/>
              <a:gd name="connsiteY7" fmla="*/ 1175529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233913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188049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188049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188049 h 2958168"/>
              <a:gd name="connsiteX8" fmla="*/ 1763257 w 12324337"/>
              <a:gd name="connsiteY8" fmla="*/ 2791 h 2958168"/>
              <a:gd name="connsiteX0" fmla="*/ 1763256 w 13203131"/>
              <a:gd name="connsiteY0" fmla="*/ 0 h 2958168"/>
              <a:gd name="connsiteX1" fmla="*/ 13202375 w 13203131"/>
              <a:gd name="connsiteY1" fmla="*/ 0 h 2958168"/>
              <a:gd name="connsiteX2" fmla="*/ 13201877 w 13203131"/>
              <a:gd name="connsiteY2" fmla="*/ 1476338 h 2958168"/>
              <a:gd name="connsiteX3" fmla="*/ 11929314 w 13203131"/>
              <a:gd name="connsiteY3" fmla="*/ 2153103 h 2958168"/>
              <a:gd name="connsiteX4" fmla="*/ 4958278 w 13203131"/>
              <a:gd name="connsiteY4" fmla="*/ 2159512 h 2958168"/>
              <a:gd name="connsiteX5" fmla="*/ 3821609 w 13203131"/>
              <a:gd name="connsiteY5" fmla="*/ 2958168 h 2958168"/>
              <a:gd name="connsiteX6" fmla="*/ 2640720 w 13203131"/>
              <a:gd name="connsiteY6" fmla="*/ 2174065 h 2958168"/>
              <a:gd name="connsiteX7" fmla="*/ 1758386 w 13203131"/>
              <a:gd name="connsiteY7" fmla="*/ 2188049 h 2958168"/>
              <a:gd name="connsiteX8" fmla="*/ 1763256 w 13203131"/>
              <a:gd name="connsiteY8" fmla="*/ 0 h 2958168"/>
              <a:gd name="connsiteX0" fmla="*/ 4870 w 11444745"/>
              <a:gd name="connsiteY0" fmla="*/ 0 h 2958168"/>
              <a:gd name="connsiteX1" fmla="*/ 11443989 w 11444745"/>
              <a:gd name="connsiteY1" fmla="*/ 0 h 2958168"/>
              <a:gd name="connsiteX2" fmla="*/ 11443491 w 11444745"/>
              <a:gd name="connsiteY2" fmla="*/ 1476338 h 2958168"/>
              <a:gd name="connsiteX3" fmla="*/ 10170928 w 11444745"/>
              <a:gd name="connsiteY3" fmla="*/ 2153103 h 2958168"/>
              <a:gd name="connsiteX4" fmla="*/ 3199892 w 11444745"/>
              <a:gd name="connsiteY4" fmla="*/ 2159512 h 2958168"/>
              <a:gd name="connsiteX5" fmla="*/ 2063223 w 11444745"/>
              <a:gd name="connsiteY5" fmla="*/ 2958168 h 2958168"/>
              <a:gd name="connsiteX6" fmla="*/ 882334 w 11444745"/>
              <a:gd name="connsiteY6" fmla="*/ 2174065 h 2958168"/>
              <a:gd name="connsiteX7" fmla="*/ 0 w 11444745"/>
              <a:gd name="connsiteY7" fmla="*/ 2188049 h 2958168"/>
              <a:gd name="connsiteX8" fmla="*/ 4870 w 11444745"/>
              <a:gd name="connsiteY8" fmla="*/ 0 h 2958168"/>
              <a:gd name="connsiteX0" fmla="*/ 4870 w 16276755"/>
              <a:gd name="connsiteY0" fmla="*/ 0 h 2958168"/>
              <a:gd name="connsiteX1" fmla="*/ 11443989 w 16276755"/>
              <a:gd name="connsiteY1" fmla="*/ 0 h 2958168"/>
              <a:gd name="connsiteX2" fmla="*/ 16275500 w 16276755"/>
              <a:gd name="connsiteY2" fmla="*/ 1268652 h 2958168"/>
              <a:gd name="connsiteX3" fmla="*/ 10170928 w 16276755"/>
              <a:gd name="connsiteY3" fmla="*/ 2153103 h 2958168"/>
              <a:gd name="connsiteX4" fmla="*/ 3199892 w 16276755"/>
              <a:gd name="connsiteY4" fmla="*/ 2159512 h 2958168"/>
              <a:gd name="connsiteX5" fmla="*/ 2063223 w 16276755"/>
              <a:gd name="connsiteY5" fmla="*/ 2958168 h 2958168"/>
              <a:gd name="connsiteX6" fmla="*/ 882334 w 16276755"/>
              <a:gd name="connsiteY6" fmla="*/ 2174065 h 2958168"/>
              <a:gd name="connsiteX7" fmla="*/ 0 w 16276755"/>
              <a:gd name="connsiteY7" fmla="*/ 2188049 h 2958168"/>
              <a:gd name="connsiteX8" fmla="*/ 4870 w 16276755"/>
              <a:gd name="connsiteY8" fmla="*/ 0 h 2958168"/>
              <a:gd name="connsiteX0" fmla="*/ 4870 w 16276755"/>
              <a:gd name="connsiteY0" fmla="*/ 0 h 2958168"/>
              <a:gd name="connsiteX1" fmla="*/ 11443989 w 16276755"/>
              <a:gd name="connsiteY1" fmla="*/ 0 h 2958168"/>
              <a:gd name="connsiteX2" fmla="*/ 16275500 w 16276755"/>
              <a:gd name="connsiteY2" fmla="*/ 1268652 h 2958168"/>
              <a:gd name="connsiteX3" fmla="*/ 15472016 w 16276755"/>
              <a:gd name="connsiteY3" fmla="*/ 2188049 h 2958168"/>
              <a:gd name="connsiteX4" fmla="*/ 3199892 w 16276755"/>
              <a:gd name="connsiteY4" fmla="*/ 2159512 h 2958168"/>
              <a:gd name="connsiteX5" fmla="*/ 2063223 w 16276755"/>
              <a:gd name="connsiteY5" fmla="*/ 2958168 h 2958168"/>
              <a:gd name="connsiteX6" fmla="*/ 882334 w 16276755"/>
              <a:gd name="connsiteY6" fmla="*/ 2174065 h 2958168"/>
              <a:gd name="connsiteX7" fmla="*/ 0 w 16276755"/>
              <a:gd name="connsiteY7" fmla="*/ 2188049 h 2958168"/>
              <a:gd name="connsiteX8" fmla="*/ 4870 w 16276755"/>
              <a:gd name="connsiteY8" fmla="*/ 0 h 2958168"/>
              <a:gd name="connsiteX0" fmla="*/ 4870 w 16278010"/>
              <a:gd name="connsiteY0" fmla="*/ 0 h 2958168"/>
              <a:gd name="connsiteX1" fmla="*/ 11443989 w 16278010"/>
              <a:gd name="connsiteY1" fmla="*/ 0 h 2958168"/>
              <a:gd name="connsiteX2" fmla="*/ 16276755 w 16278010"/>
              <a:gd name="connsiteY2" fmla="*/ 1717995 h 2958168"/>
              <a:gd name="connsiteX3" fmla="*/ 15472016 w 16278010"/>
              <a:gd name="connsiteY3" fmla="*/ 2188049 h 2958168"/>
              <a:gd name="connsiteX4" fmla="*/ 3199892 w 16278010"/>
              <a:gd name="connsiteY4" fmla="*/ 2159512 h 2958168"/>
              <a:gd name="connsiteX5" fmla="*/ 2063223 w 16278010"/>
              <a:gd name="connsiteY5" fmla="*/ 2958168 h 2958168"/>
              <a:gd name="connsiteX6" fmla="*/ 882334 w 16278010"/>
              <a:gd name="connsiteY6" fmla="*/ 2174065 h 2958168"/>
              <a:gd name="connsiteX7" fmla="*/ 0 w 16278010"/>
              <a:gd name="connsiteY7" fmla="*/ 2188049 h 2958168"/>
              <a:gd name="connsiteX8" fmla="*/ 4870 w 16278010"/>
              <a:gd name="connsiteY8" fmla="*/ 0 h 2958168"/>
              <a:gd name="connsiteX0" fmla="*/ 4870 w 16278010"/>
              <a:gd name="connsiteY0" fmla="*/ 0 h 2958168"/>
              <a:gd name="connsiteX1" fmla="*/ 11443989 w 16278010"/>
              <a:gd name="connsiteY1" fmla="*/ 0 h 2958168"/>
              <a:gd name="connsiteX2" fmla="*/ 16276755 w 16278010"/>
              <a:gd name="connsiteY2" fmla="*/ 1717995 h 2958168"/>
              <a:gd name="connsiteX3" fmla="*/ 15472016 w 16278010"/>
              <a:gd name="connsiteY3" fmla="*/ 2188049 h 2958168"/>
              <a:gd name="connsiteX4" fmla="*/ 3199892 w 16278010"/>
              <a:gd name="connsiteY4" fmla="*/ 2159512 h 2958168"/>
              <a:gd name="connsiteX5" fmla="*/ 2063223 w 16278010"/>
              <a:gd name="connsiteY5" fmla="*/ 2958168 h 2958168"/>
              <a:gd name="connsiteX6" fmla="*/ 882334 w 16278010"/>
              <a:gd name="connsiteY6" fmla="*/ 2174065 h 2958168"/>
              <a:gd name="connsiteX7" fmla="*/ 0 w 16278010"/>
              <a:gd name="connsiteY7" fmla="*/ 2188049 h 2958168"/>
              <a:gd name="connsiteX8" fmla="*/ 4870 w 16278010"/>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1 w 16273653"/>
              <a:gd name="connsiteY0" fmla="*/ 0 h 2958168"/>
              <a:gd name="connsiteX1" fmla="*/ 16273141 w 16273653"/>
              <a:gd name="connsiteY1" fmla="*/ 0 h 2958168"/>
              <a:gd name="connsiteX2" fmla="*/ 16271886 w 16273653"/>
              <a:gd name="connsiteY2" fmla="*/ 1717995 h 2958168"/>
              <a:gd name="connsiteX3" fmla="*/ 15467147 w 16273653"/>
              <a:gd name="connsiteY3" fmla="*/ 2188049 h 2958168"/>
              <a:gd name="connsiteX4" fmla="*/ 3195023 w 16273653"/>
              <a:gd name="connsiteY4" fmla="*/ 2159512 h 2958168"/>
              <a:gd name="connsiteX5" fmla="*/ 2058354 w 16273653"/>
              <a:gd name="connsiteY5" fmla="*/ 2958168 h 2958168"/>
              <a:gd name="connsiteX6" fmla="*/ 877465 w 16273653"/>
              <a:gd name="connsiteY6" fmla="*/ 2174065 h 2958168"/>
              <a:gd name="connsiteX7" fmla="*/ 2 w 16273653"/>
              <a:gd name="connsiteY7" fmla="*/ 2188049 h 2958168"/>
              <a:gd name="connsiteX8" fmla="*/ 1 w 16273653"/>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76364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76364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76364 h 2958168"/>
              <a:gd name="connsiteX8" fmla="*/ 4872 w 16278524"/>
              <a:gd name="connsiteY8" fmla="*/ 0 h 2958168"/>
              <a:gd name="connsiteX0" fmla="*/ 1 w 16273653"/>
              <a:gd name="connsiteY0" fmla="*/ 0 h 2958168"/>
              <a:gd name="connsiteX1" fmla="*/ 16273141 w 16273653"/>
              <a:gd name="connsiteY1" fmla="*/ 0 h 2958168"/>
              <a:gd name="connsiteX2" fmla="*/ 16271886 w 16273653"/>
              <a:gd name="connsiteY2" fmla="*/ 1717995 h 2958168"/>
              <a:gd name="connsiteX3" fmla="*/ 15467147 w 16273653"/>
              <a:gd name="connsiteY3" fmla="*/ 2188049 h 2958168"/>
              <a:gd name="connsiteX4" fmla="*/ 3195023 w 16273653"/>
              <a:gd name="connsiteY4" fmla="*/ 2159512 h 2958168"/>
              <a:gd name="connsiteX5" fmla="*/ 2058354 w 16273653"/>
              <a:gd name="connsiteY5" fmla="*/ 2958168 h 2958168"/>
              <a:gd name="connsiteX6" fmla="*/ 877465 w 16273653"/>
              <a:gd name="connsiteY6" fmla="*/ 2174065 h 2958168"/>
              <a:gd name="connsiteX7" fmla="*/ 2 w 16273653"/>
              <a:gd name="connsiteY7" fmla="*/ 2195845 h 2958168"/>
              <a:gd name="connsiteX8" fmla="*/ 1 w 16273653"/>
              <a:gd name="connsiteY8" fmla="*/ 0 h 2958168"/>
              <a:gd name="connsiteX0" fmla="*/ 1 w 21695427"/>
              <a:gd name="connsiteY0" fmla="*/ 0 h 2958168"/>
              <a:gd name="connsiteX1" fmla="*/ 16273141 w 21695427"/>
              <a:gd name="connsiteY1" fmla="*/ 0 h 2958168"/>
              <a:gd name="connsiteX2" fmla="*/ 21694172 w 21695427"/>
              <a:gd name="connsiteY2" fmla="*/ 1820764 h 2958168"/>
              <a:gd name="connsiteX3" fmla="*/ 15467147 w 21695427"/>
              <a:gd name="connsiteY3" fmla="*/ 2188049 h 2958168"/>
              <a:gd name="connsiteX4" fmla="*/ 3195023 w 21695427"/>
              <a:gd name="connsiteY4" fmla="*/ 2159512 h 2958168"/>
              <a:gd name="connsiteX5" fmla="*/ 2058354 w 21695427"/>
              <a:gd name="connsiteY5" fmla="*/ 2958168 h 2958168"/>
              <a:gd name="connsiteX6" fmla="*/ 877465 w 21695427"/>
              <a:gd name="connsiteY6" fmla="*/ 2174065 h 2958168"/>
              <a:gd name="connsiteX7" fmla="*/ 2 w 21695427"/>
              <a:gd name="connsiteY7" fmla="*/ 2195845 h 2958168"/>
              <a:gd name="connsiteX8" fmla="*/ 1 w 21695427"/>
              <a:gd name="connsiteY8" fmla="*/ 0 h 2958168"/>
              <a:gd name="connsiteX0" fmla="*/ 1 w 21695427"/>
              <a:gd name="connsiteY0" fmla="*/ 0 h 2958168"/>
              <a:gd name="connsiteX1" fmla="*/ 21694172 w 21695427"/>
              <a:gd name="connsiteY1" fmla="*/ 0 h 2958168"/>
              <a:gd name="connsiteX2" fmla="*/ 21694172 w 21695427"/>
              <a:gd name="connsiteY2" fmla="*/ 1820764 h 2958168"/>
              <a:gd name="connsiteX3" fmla="*/ 15467147 w 21695427"/>
              <a:gd name="connsiteY3" fmla="*/ 2188049 h 2958168"/>
              <a:gd name="connsiteX4" fmla="*/ 3195023 w 21695427"/>
              <a:gd name="connsiteY4" fmla="*/ 2159512 h 2958168"/>
              <a:gd name="connsiteX5" fmla="*/ 2058354 w 21695427"/>
              <a:gd name="connsiteY5" fmla="*/ 2958168 h 2958168"/>
              <a:gd name="connsiteX6" fmla="*/ 877465 w 21695427"/>
              <a:gd name="connsiteY6" fmla="*/ 2174065 h 2958168"/>
              <a:gd name="connsiteX7" fmla="*/ 2 w 21695427"/>
              <a:gd name="connsiteY7" fmla="*/ 2195845 h 2958168"/>
              <a:gd name="connsiteX8" fmla="*/ 1 w 21695427"/>
              <a:gd name="connsiteY8" fmla="*/ 0 h 2958168"/>
              <a:gd name="connsiteX0" fmla="*/ 1 w 21695939"/>
              <a:gd name="connsiteY0" fmla="*/ 0 h 2958168"/>
              <a:gd name="connsiteX1" fmla="*/ 21695427 w 21695939"/>
              <a:gd name="connsiteY1" fmla="*/ 0 h 2958168"/>
              <a:gd name="connsiteX2" fmla="*/ 21694172 w 21695939"/>
              <a:gd name="connsiteY2" fmla="*/ 1820764 h 2958168"/>
              <a:gd name="connsiteX3" fmla="*/ 15467147 w 21695939"/>
              <a:gd name="connsiteY3" fmla="*/ 2188049 h 2958168"/>
              <a:gd name="connsiteX4" fmla="*/ 3195023 w 21695939"/>
              <a:gd name="connsiteY4" fmla="*/ 2159512 h 2958168"/>
              <a:gd name="connsiteX5" fmla="*/ 2058354 w 21695939"/>
              <a:gd name="connsiteY5" fmla="*/ 2958168 h 2958168"/>
              <a:gd name="connsiteX6" fmla="*/ 877465 w 21695939"/>
              <a:gd name="connsiteY6" fmla="*/ 2174065 h 2958168"/>
              <a:gd name="connsiteX7" fmla="*/ 2 w 21695939"/>
              <a:gd name="connsiteY7" fmla="*/ 2195845 h 2958168"/>
              <a:gd name="connsiteX8" fmla="*/ 1 w 21695939"/>
              <a:gd name="connsiteY8" fmla="*/ 0 h 2958168"/>
              <a:gd name="connsiteX0" fmla="*/ 1 w 21695939"/>
              <a:gd name="connsiteY0" fmla="*/ 0 h 2958168"/>
              <a:gd name="connsiteX1" fmla="*/ 21695427 w 21695939"/>
              <a:gd name="connsiteY1" fmla="*/ 0 h 2958168"/>
              <a:gd name="connsiteX2" fmla="*/ 21694172 w 21695939"/>
              <a:gd name="connsiteY2" fmla="*/ 1820764 h 2958168"/>
              <a:gd name="connsiteX3" fmla="*/ 20899883 w 21695939"/>
              <a:gd name="connsiteY3" fmla="*/ 2195845 h 2958168"/>
              <a:gd name="connsiteX4" fmla="*/ 3195023 w 21695939"/>
              <a:gd name="connsiteY4" fmla="*/ 2159512 h 2958168"/>
              <a:gd name="connsiteX5" fmla="*/ 2058354 w 21695939"/>
              <a:gd name="connsiteY5" fmla="*/ 2958168 h 2958168"/>
              <a:gd name="connsiteX6" fmla="*/ 877465 w 21695939"/>
              <a:gd name="connsiteY6" fmla="*/ 2174065 h 2958168"/>
              <a:gd name="connsiteX7" fmla="*/ 2 w 21695939"/>
              <a:gd name="connsiteY7" fmla="*/ 2195845 h 2958168"/>
              <a:gd name="connsiteX8" fmla="*/ 1 w 21695939"/>
              <a:gd name="connsiteY8" fmla="*/ 0 h 2958168"/>
              <a:gd name="connsiteX0" fmla="*/ 2 w 21700437"/>
              <a:gd name="connsiteY0" fmla="*/ 0 h 4325468"/>
              <a:gd name="connsiteX1" fmla="*/ 21699925 w 21700437"/>
              <a:gd name="connsiteY1" fmla="*/ 1367300 h 4325468"/>
              <a:gd name="connsiteX2" fmla="*/ 21698670 w 21700437"/>
              <a:gd name="connsiteY2" fmla="*/ 3188064 h 4325468"/>
              <a:gd name="connsiteX3" fmla="*/ 20904381 w 21700437"/>
              <a:gd name="connsiteY3" fmla="*/ 3563145 h 4325468"/>
              <a:gd name="connsiteX4" fmla="*/ 3199521 w 21700437"/>
              <a:gd name="connsiteY4" fmla="*/ 3526812 h 4325468"/>
              <a:gd name="connsiteX5" fmla="*/ 2062852 w 21700437"/>
              <a:gd name="connsiteY5" fmla="*/ 4325468 h 4325468"/>
              <a:gd name="connsiteX6" fmla="*/ 881963 w 21700437"/>
              <a:gd name="connsiteY6" fmla="*/ 3541365 h 4325468"/>
              <a:gd name="connsiteX7" fmla="*/ 4500 w 21700437"/>
              <a:gd name="connsiteY7" fmla="*/ 3563145 h 4325468"/>
              <a:gd name="connsiteX8" fmla="*/ 2 w 21700437"/>
              <a:gd name="connsiteY8" fmla="*/ 0 h 4325468"/>
              <a:gd name="connsiteX0" fmla="*/ 2 w 21699925"/>
              <a:gd name="connsiteY0" fmla="*/ 0 h 4325468"/>
              <a:gd name="connsiteX1" fmla="*/ 21698669 w 21699925"/>
              <a:gd name="connsiteY1" fmla="*/ 0 h 4325468"/>
              <a:gd name="connsiteX2" fmla="*/ 21698670 w 21699925"/>
              <a:gd name="connsiteY2" fmla="*/ 3188064 h 4325468"/>
              <a:gd name="connsiteX3" fmla="*/ 20904381 w 21699925"/>
              <a:gd name="connsiteY3" fmla="*/ 3563145 h 4325468"/>
              <a:gd name="connsiteX4" fmla="*/ 3199521 w 21699925"/>
              <a:gd name="connsiteY4" fmla="*/ 3526812 h 4325468"/>
              <a:gd name="connsiteX5" fmla="*/ 2062852 w 21699925"/>
              <a:gd name="connsiteY5" fmla="*/ 4325468 h 4325468"/>
              <a:gd name="connsiteX6" fmla="*/ 881963 w 21699925"/>
              <a:gd name="connsiteY6" fmla="*/ 3541365 h 4325468"/>
              <a:gd name="connsiteX7" fmla="*/ 4500 w 21699925"/>
              <a:gd name="connsiteY7" fmla="*/ 3563145 h 4325468"/>
              <a:gd name="connsiteX8" fmla="*/ 2 w 21699925"/>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1918176 w 22713720"/>
              <a:gd name="connsiteY3" fmla="*/ 3563145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1018295 w 22713720"/>
              <a:gd name="connsiteY7" fmla="*/ 3563145 h 4325468"/>
              <a:gd name="connsiteX8" fmla="*/ 3 w 22713720"/>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1918176 w 22713720"/>
              <a:gd name="connsiteY3" fmla="*/ 3563145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0 w 22713720"/>
              <a:gd name="connsiteY7" fmla="*/ 3529270 h 4325468"/>
              <a:gd name="connsiteX8" fmla="*/ 3 w 22713720"/>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1918176 w 22713720"/>
              <a:gd name="connsiteY3" fmla="*/ 3563145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2 w 22713720"/>
              <a:gd name="connsiteY7" fmla="*/ 3551158 h 4325468"/>
              <a:gd name="connsiteX8" fmla="*/ 3 w 22713720"/>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0899886 w 22713720"/>
              <a:gd name="connsiteY3" fmla="*/ 3551158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2 w 22713720"/>
              <a:gd name="connsiteY7" fmla="*/ 3551158 h 4325468"/>
              <a:gd name="connsiteX8" fmla="*/ 3 w 22713720"/>
              <a:gd name="connsiteY8" fmla="*/ 0 h 4325468"/>
              <a:gd name="connsiteX0" fmla="*/ 3 w 22712977"/>
              <a:gd name="connsiteY0" fmla="*/ 0 h 4325468"/>
              <a:gd name="connsiteX1" fmla="*/ 22712464 w 22712977"/>
              <a:gd name="connsiteY1" fmla="*/ 0 h 4325468"/>
              <a:gd name="connsiteX2" fmla="*/ 21694177 w 22712977"/>
              <a:gd name="connsiteY2" fmla="*/ 3166173 h 4325468"/>
              <a:gd name="connsiteX3" fmla="*/ 20899886 w 22712977"/>
              <a:gd name="connsiteY3" fmla="*/ 3551158 h 4325468"/>
              <a:gd name="connsiteX4" fmla="*/ 4213316 w 22712977"/>
              <a:gd name="connsiteY4" fmla="*/ 3526812 h 4325468"/>
              <a:gd name="connsiteX5" fmla="*/ 3076647 w 22712977"/>
              <a:gd name="connsiteY5" fmla="*/ 4325468 h 4325468"/>
              <a:gd name="connsiteX6" fmla="*/ 1895758 w 22712977"/>
              <a:gd name="connsiteY6" fmla="*/ 3541365 h 4325468"/>
              <a:gd name="connsiteX7" fmla="*/ 2 w 22712977"/>
              <a:gd name="connsiteY7" fmla="*/ 3551158 h 4325468"/>
              <a:gd name="connsiteX8" fmla="*/ 3 w 22712977"/>
              <a:gd name="connsiteY8" fmla="*/ 0 h 4325468"/>
              <a:gd name="connsiteX0" fmla="*/ 3 w 21695432"/>
              <a:gd name="connsiteY0" fmla="*/ 0 h 4325468"/>
              <a:gd name="connsiteX1" fmla="*/ 21153955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895758 w 21695432"/>
              <a:gd name="connsiteY6" fmla="*/ 3541365 h 4325468"/>
              <a:gd name="connsiteX7" fmla="*/ 2 w 21695432"/>
              <a:gd name="connsiteY7" fmla="*/ 3551158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895758 w 21695432"/>
              <a:gd name="connsiteY6" fmla="*/ 3541365 h 4325468"/>
              <a:gd name="connsiteX7" fmla="*/ 2 w 21695432"/>
              <a:gd name="connsiteY7" fmla="*/ 3551158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895758 w 21695432"/>
              <a:gd name="connsiteY6" fmla="*/ 3541365 h 4325468"/>
              <a:gd name="connsiteX7" fmla="*/ 5 w 21695432"/>
              <a:gd name="connsiteY7" fmla="*/ 3526990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902293 w 21695432"/>
              <a:gd name="connsiteY6" fmla="*/ 3526990 h 4325468"/>
              <a:gd name="connsiteX7" fmla="*/ 5 w 21695432"/>
              <a:gd name="connsiteY7" fmla="*/ 3526990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9849 w 21695432"/>
              <a:gd name="connsiteY4" fmla="*/ 3526990 h 4325468"/>
              <a:gd name="connsiteX5" fmla="*/ 3076647 w 21695432"/>
              <a:gd name="connsiteY5" fmla="*/ 4325468 h 4325468"/>
              <a:gd name="connsiteX6" fmla="*/ 1902293 w 21695432"/>
              <a:gd name="connsiteY6" fmla="*/ 3526990 h 4325468"/>
              <a:gd name="connsiteX7" fmla="*/ 5 w 21695432"/>
              <a:gd name="connsiteY7" fmla="*/ 3526990 h 4325468"/>
              <a:gd name="connsiteX8" fmla="*/ 3 w 21695432"/>
              <a:gd name="connsiteY8" fmla="*/ 0 h 4325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95432" h="4325468">
                <a:moveTo>
                  <a:pt x="3" y="0"/>
                </a:moveTo>
                <a:lnTo>
                  <a:pt x="21694177" y="21891"/>
                </a:lnTo>
                <a:cubicBezTo>
                  <a:pt x="21694690" y="89491"/>
                  <a:pt x="21695431" y="3122758"/>
                  <a:pt x="21694177" y="3166173"/>
                </a:cubicBezTo>
                <a:cubicBezTo>
                  <a:pt x="21550078" y="3591064"/>
                  <a:pt x="21159648" y="3545215"/>
                  <a:pt x="20899886" y="3551158"/>
                </a:cubicBezTo>
                <a:lnTo>
                  <a:pt x="4219849" y="3526990"/>
                </a:lnTo>
                <a:cubicBezTo>
                  <a:pt x="3642635" y="3560132"/>
                  <a:pt x="3268256" y="3862646"/>
                  <a:pt x="3076647" y="4325468"/>
                </a:cubicBezTo>
                <a:cubicBezTo>
                  <a:pt x="2778293" y="3621691"/>
                  <a:pt x="2180933" y="3526112"/>
                  <a:pt x="1902293" y="3526990"/>
                </a:cubicBezTo>
                <a:lnTo>
                  <a:pt x="5" y="3526990"/>
                </a:lnTo>
                <a:cubicBezTo>
                  <a:pt x="227" y="3165111"/>
                  <a:pt x="1" y="1026327"/>
                  <a:pt x="3"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4" name="Object 3" hidden="1"/>
          <p:cNvGraphicFramePr>
            <a:graphicFrameLocks noChangeAspect="1"/>
          </p:cNvGraphicFramePr>
          <p:nvPr/>
        </p:nvGraphicFramePr>
        <p:xfrm>
          <a:off x="1" y="0"/>
          <a:ext cx="146538" cy="158750"/>
        </p:xfrm>
        <a:graphic>
          <a:graphicData uri="http://schemas.openxmlformats.org/presentationml/2006/ole">
            <p:oleObj spid="_x0000_s73085" name="think-cell Slide" r:id="rId9" imgW="360" imgH="360" progId="">
              <p:embed/>
            </p:oleObj>
          </a:graphicData>
        </a:graphic>
      </p:graphicFrame>
      <p:sp>
        <p:nvSpPr>
          <p:cNvPr id="16" name="Title 1"/>
          <p:cNvSpPr>
            <a:spLocks noGrp="1"/>
          </p:cNvSpPr>
          <p:nvPr>
            <p:ph type="title" hasCustomPrompt="1"/>
            <p:custDataLst>
              <p:tags r:id="rId3"/>
            </p:custDataLst>
          </p:nvPr>
        </p:nvSpPr>
        <p:spPr>
          <a:xfrm>
            <a:off x="476250" y="4134678"/>
            <a:ext cx="5354178" cy="1551254"/>
          </a:xfrm>
          <a:effectLst>
            <a:outerShdw blurRad="50800" dist="38100" dir="2700000" algn="tl" rotWithShape="0">
              <a:prstClr val="black">
                <a:alpha val="40000"/>
              </a:prstClr>
            </a:outerShdw>
          </a:effectLst>
        </p:spPr>
        <p:txBody>
          <a:bodyPr vert="horz" lIns="36000" tIns="36000" rIns="360000" bIns="36000" rtlCol="0" anchor="ctr">
            <a:noAutofit/>
          </a:bodyPr>
          <a:lstStyle>
            <a:lvl1pPr algn="l" defTabSz="995690" rtl="0" eaLnBrk="1" latinLnBrk="0" hangingPunct="1">
              <a:spcBef>
                <a:spcPct val="0"/>
              </a:spcBef>
              <a:buNone/>
              <a:defRPr lang="en-US" sz="2800" b="1"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415569" y="5738190"/>
            <a:ext cx="4672738" cy="677987"/>
          </a:xfrm>
          <a:effectLst>
            <a:outerShdw blurRad="50800" dist="38100" dir="2700000" algn="tl" rotWithShape="0">
              <a:prstClr val="black">
                <a:alpha val="40000"/>
              </a:prstClr>
            </a:outerShdw>
          </a:effectLst>
        </p:spPr>
        <p:txBody>
          <a:bodyPr vert="horz" lIns="36000" tIns="36000" rIns="360000" bIns="36000" rtlCol="0">
            <a:noAutofit/>
          </a:bodyPr>
          <a:lstStyle>
            <a:lvl1pPr marL="0" indent="0" algn="l"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11" name="Rectangle 10"/>
          <p:cNvSpPr/>
          <p:nvPr userDrawn="1">
            <p:custDataLst>
              <p:tags r:id="rId5"/>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12" name="Picture 104" descr="C:\Users\UserSim\Desktop\Capgemini\moto.emf"/>
          <p:cNvPicPr>
            <a:picLocks noChangeAspect="1" noChangeArrowheads="1"/>
          </p:cNvPicPr>
          <p:nvPr userDrawn="1">
            <p:custDataLst>
              <p:tags r:id="rId6"/>
            </p:custDataLst>
          </p:nvPr>
        </p:nvPicPr>
        <p:blipFill>
          <a:blip r:embed="rId10" cstate="email">
            <a:extLst>
              <a:ext uri="{28A0092B-C50C-407E-A947-70E740481C1C}">
                <a14:useLocalDpi xmlns="" xmlns:a14="http://schemas.microsoft.com/office/drawing/2010/main" val="0"/>
              </a:ext>
            </a:extLst>
          </a:blip>
          <a:srcRect/>
          <a:stretch>
            <a:fillRect/>
          </a:stretch>
        </p:blipFill>
        <p:spPr bwMode="auto">
          <a:xfrm>
            <a:off x="5807786" y="6520694"/>
            <a:ext cx="3001425" cy="239021"/>
          </a:xfrm>
          <a:prstGeom prst="rect">
            <a:avLst/>
          </a:prstGeom>
          <a:noFill/>
        </p:spPr>
      </p:pic>
      <p:pic>
        <p:nvPicPr>
          <p:cNvPr id="15" name="Picture 14" descr="capgemini_rgb.jpg"/>
          <p:cNvPicPr>
            <a:picLocks noChangeAspect="1"/>
          </p:cNvPicPr>
          <p:nvPr userDrawn="1"/>
        </p:nvPicPr>
        <p:blipFill>
          <a:blip r:embed="rId11" cstate="print">
            <a:extLst>
              <a:ext uri="{28A0092B-C50C-407E-A947-70E740481C1C}">
                <a14:useLocalDpi xmlns="" xmlns:a14="http://schemas.microsoft.com/office/drawing/2010/main" val="0"/>
              </a:ext>
            </a:extLst>
          </a:blip>
          <a:stretch>
            <a:fillRect/>
          </a:stretch>
        </p:blipFill>
        <p:spPr>
          <a:xfrm>
            <a:off x="476250" y="348898"/>
            <a:ext cx="2355850" cy="720182"/>
          </a:xfrm>
          <a:prstGeom prst="rect">
            <a:avLst/>
          </a:prstGeom>
        </p:spPr>
      </p:pic>
    </p:spTree>
    <p:extLst>
      <p:ext uri="{BB962C8B-B14F-4D97-AF65-F5344CB8AC3E}">
        <p14:creationId xmlns="" xmlns:p14="http://schemas.microsoft.com/office/powerpoint/2010/main" val="3090345463"/>
      </p:ext>
    </p:extLst>
  </p:cSld>
  <p:clrMapOvr>
    <a:masterClrMapping/>
  </p:clrMapOvr>
  <p:extLst mod="1">
    <p:ext uri="{DCECCB84-F9BA-43D5-87BE-67443E8EF086}">
      <p15:sldGuideLst xmlns=""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Pr>
        <a:gradFill>
          <a:gsLst>
            <a:gs pos="0">
              <a:srgbClr val="005B7C"/>
            </a:gs>
            <a:gs pos="50000">
              <a:srgbClr val="0085B3"/>
            </a:gs>
            <a:gs pos="100000">
              <a:srgbClr val="00A0D6"/>
            </a:gs>
          </a:gsLst>
          <a:lin ang="18900000" scaled="1"/>
        </a:gradFill>
        <a:effectLst/>
      </p:bgPr>
    </p:bg>
    <p:spTree>
      <p:nvGrpSpPr>
        <p:cNvPr id="1" name=""/>
        <p:cNvGrpSpPr/>
        <p:nvPr/>
      </p:nvGrpSpPr>
      <p:grpSpPr>
        <a:xfrm>
          <a:off x="0" y="0"/>
          <a:ext cx="0" cy="0"/>
          <a:chOff x="0" y="0"/>
          <a:chExt cx="0" cy="0"/>
        </a:xfrm>
      </p:grpSpPr>
      <p:sp>
        <p:nvSpPr>
          <p:cNvPr id="7" name="Rectangle 7"/>
          <p:cNvSpPr/>
          <p:nvPr userDrawn="1">
            <p:custDataLst>
              <p:tags r:id="rId1"/>
            </p:custDataLst>
          </p:nvPr>
        </p:nvSpPr>
        <p:spPr bwMode="auto">
          <a:xfrm>
            <a:off x="-2047" y="4029669"/>
            <a:ext cx="9147890" cy="2833417"/>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1744042 w 12324337"/>
              <a:gd name="connsiteY7" fmla="*/ 1175529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233913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188049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188049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188049 h 2958168"/>
              <a:gd name="connsiteX8" fmla="*/ 1763257 w 12324337"/>
              <a:gd name="connsiteY8" fmla="*/ 2791 h 2958168"/>
              <a:gd name="connsiteX0" fmla="*/ 1763256 w 13203131"/>
              <a:gd name="connsiteY0" fmla="*/ 0 h 2958168"/>
              <a:gd name="connsiteX1" fmla="*/ 13202375 w 13203131"/>
              <a:gd name="connsiteY1" fmla="*/ 0 h 2958168"/>
              <a:gd name="connsiteX2" fmla="*/ 13201877 w 13203131"/>
              <a:gd name="connsiteY2" fmla="*/ 1476338 h 2958168"/>
              <a:gd name="connsiteX3" fmla="*/ 11929314 w 13203131"/>
              <a:gd name="connsiteY3" fmla="*/ 2153103 h 2958168"/>
              <a:gd name="connsiteX4" fmla="*/ 4958278 w 13203131"/>
              <a:gd name="connsiteY4" fmla="*/ 2159512 h 2958168"/>
              <a:gd name="connsiteX5" fmla="*/ 3821609 w 13203131"/>
              <a:gd name="connsiteY5" fmla="*/ 2958168 h 2958168"/>
              <a:gd name="connsiteX6" fmla="*/ 2640720 w 13203131"/>
              <a:gd name="connsiteY6" fmla="*/ 2174065 h 2958168"/>
              <a:gd name="connsiteX7" fmla="*/ 1758386 w 13203131"/>
              <a:gd name="connsiteY7" fmla="*/ 2188049 h 2958168"/>
              <a:gd name="connsiteX8" fmla="*/ 1763256 w 13203131"/>
              <a:gd name="connsiteY8" fmla="*/ 0 h 2958168"/>
              <a:gd name="connsiteX0" fmla="*/ 4870 w 11444745"/>
              <a:gd name="connsiteY0" fmla="*/ 0 h 2958168"/>
              <a:gd name="connsiteX1" fmla="*/ 11443989 w 11444745"/>
              <a:gd name="connsiteY1" fmla="*/ 0 h 2958168"/>
              <a:gd name="connsiteX2" fmla="*/ 11443491 w 11444745"/>
              <a:gd name="connsiteY2" fmla="*/ 1476338 h 2958168"/>
              <a:gd name="connsiteX3" fmla="*/ 10170928 w 11444745"/>
              <a:gd name="connsiteY3" fmla="*/ 2153103 h 2958168"/>
              <a:gd name="connsiteX4" fmla="*/ 3199892 w 11444745"/>
              <a:gd name="connsiteY4" fmla="*/ 2159512 h 2958168"/>
              <a:gd name="connsiteX5" fmla="*/ 2063223 w 11444745"/>
              <a:gd name="connsiteY5" fmla="*/ 2958168 h 2958168"/>
              <a:gd name="connsiteX6" fmla="*/ 882334 w 11444745"/>
              <a:gd name="connsiteY6" fmla="*/ 2174065 h 2958168"/>
              <a:gd name="connsiteX7" fmla="*/ 0 w 11444745"/>
              <a:gd name="connsiteY7" fmla="*/ 2188049 h 2958168"/>
              <a:gd name="connsiteX8" fmla="*/ 4870 w 11444745"/>
              <a:gd name="connsiteY8" fmla="*/ 0 h 2958168"/>
              <a:gd name="connsiteX0" fmla="*/ 4870 w 16276755"/>
              <a:gd name="connsiteY0" fmla="*/ 0 h 2958168"/>
              <a:gd name="connsiteX1" fmla="*/ 11443989 w 16276755"/>
              <a:gd name="connsiteY1" fmla="*/ 0 h 2958168"/>
              <a:gd name="connsiteX2" fmla="*/ 16275500 w 16276755"/>
              <a:gd name="connsiteY2" fmla="*/ 1268652 h 2958168"/>
              <a:gd name="connsiteX3" fmla="*/ 10170928 w 16276755"/>
              <a:gd name="connsiteY3" fmla="*/ 2153103 h 2958168"/>
              <a:gd name="connsiteX4" fmla="*/ 3199892 w 16276755"/>
              <a:gd name="connsiteY4" fmla="*/ 2159512 h 2958168"/>
              <a:gd name="connsiteX5" fmla="*/ 2063223 w 16276755"/>
              <a:gd name="connsiteY5" fmla="*/ 2958168 h 2958168"/>
              <a:gd name="connsiteX6" fmla="*/ 882334 w 16276755"/>
              <a:gd name="connsiteY6" fmla="*/ 2174065 h 2958168"/>
              <a:gd name="connsiteX7" fmla="*/ 0 w 16276755"/>
              <a:gd name="connsiteY7" fmla="*/ 2188049 h 2958168"/>
              <a:gd name="connsiteX8" fmla="*/ 4870 w 16276755"/>
              <a:gd name="connsiteY8" fmla="*/ 0 h 2958168"/>
              <a:gd name="connsiteX0" fmla="*/ 4870 w 16276755"/>
              <a:gd name="connsiteY0" fmla="*/ 0 h 2958168"/>
              <a:gd name="connsiteX1" fmla="*/ 11443989 w 16276755"/>
              <a:gd name="connsiteY1" fmla="*/ 0 h 2958168"/>
              <a:gd name="connsiteX2" fmla="*/ 16275500 w 16276755"/>
              <a:gd name="connsiteY2" fmla="*/ 1268652 h 2958168"/>
              <a:gd name="connsiteX3" fmla="*/ 15472016 w 16276755"/>
              <a:gd name="connsiteY3" fmla="*/ 2188049 h 2958168"/>
              <a:gd name="connsiteX4" fmla="*/ 3199892 w 16276755"/>
              <a:gd name="connsiteY4" fmla="*/ 2159512 h 2958168"/>
              <a:gd name="connsiteX5" fmla="*/ 2063223 w 16276755"/>
              <a:gd name="connsiteY5" fmla="*/ 2958168 h 2958168"/>
              <a:gd name="connsiteX6" fmla="*/ 882334 w 16276755"/>
              <a:gd name="connsiteY6" fmla="*/ 2174065 h 2958168"/>
              <a:gd name="connsiteX7" fmla="*/ 0 w 16276755"/>
              <a:gd name="connsiteY7" fmla="*/ 2188049 h 2958168"/>
              <a:gd name="connsiteX8" fmla="*/ 4870 w 16276755"/>
              <a:gd name="connsiteY8" fmla="*/ 0 h 2958168"/>
              <a:gd name="connsiteX0" fmla="*/ 4870 w 16278010"/>
              <a:gd name="connsiteY0" fmla="*/ 0 h 2958168"/>
              <a:gd name="connsiteX1" fmla="*/ 11443989 w 16278010"/>
              <a:gd name="connsiteY1" fmla="*/ 0 h 2958168"/>
              <a:gd name="connsiteX2" fmla="*/ 16276755 w 16278010"/>
              <a:gd name="connsiteY2" fmla="*/ 1717995 h 2958168"/>
              <a:gd name="connsiteX3" fmla="*/ 15472016 w 16278010"/>
              <a:gd name="connsiteY3" fmla="*/ 2188049 h 2958168"/>
              <a:gd name="connsiteX4" fmla="*/ 3199892 w 16278010"/>
              <a:gd name="connsiteY4" fmla="*/ 2159512 h 2958168"/>
              <a:gd name="connsiteX5" fmla="*/ 2063223 w 16278010"/>
              <a:gd name="connsiteY5" fmla="*/ 2958168 h 2958168"/>
              <a:gd name="connsiteX6" fmla="*/ 882334 w 16278010"/>
              <a:gd name="connsiteY6" fmla="*/ 2174065 h 2958168"/>
              <a:gd name="connsiteX7" fmla="*/ 0 w 16278010"/>
              <a:gd name="connsiteY7" fmla="*/ 2188049 h 2958168"/>
              <a:gd name="connsiteX8" fmla="*/ 4870 w 16278010"/>
              <a:gd name="connsiteY8" fmla="*/ 0 h 2958168"/>
              <a:gd name="connsiteX0" fmla="*/ 4870 w 16278010"/>
              <a:gd name="connsiteY0" fmla="*/ 0 h 2958168"/>
              <a:gd name="connsiteX1" fmla="*/ 11443989 w 16278010"/>
              <a:gd name="connsiteY1" fmla="*/ 0 h 2958168"/>
              <a:gd name="connsiteX2" fmla="*/ 16276755 w 16278010"/>
              <a:gd name="connsiteY2" fmla="*/ 1717995 h 2958168"/>
              <a:gd name="connsiteX3" fmla="*/ 15472016 w 16278010"/>
              <a:gd name="connsiteY3" fmla="*/ 2188049 h 2958168"/>
              <a:gd name="connsiteX4" fmla="*/ 3199892 w 16278010"/>
              <a:gd name="connsiteY4" fmla="*/ 2159512 h 2958168"/>
              <a:gd name="connsiteX5" fmla="*/ 2063223 w 16278010"/>
              <a:gd name="connsiteY5" fmla="*/ 2958168 h 2958168"/>
              <a:gd name="connsiteX6" fmla="*/ 882334 w 16278010"/>
              <a:gd name="connsiteY6" fmla="*/ 2174065 h 2958168"/>
              <a:gd name="connsiteX7" fmla="*/ 0 w 16278010"/>
              <a:gd name="connsiteY7" fmla="*/ 2188049 h 2958168"/>
              <a:gd name="connsiteX8" fmla="*/ 4870 w 16278010"/>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1 w 16273653"/>
              <a:gd name="connsiteY0" fmla="*/ 0 h 2958168"/>
              <a:gd name="connsiteX1" fmla="*/ 16273141 w 16273653"/>
              <a:gd name="connsiteY1" fmla="*/ 0 h 2958168"/>
              <a:gd name="connsiteX2" fmla="*/ 16271886 w 16273653"/>
              <a:gd name="connsiteY2" fmla="*/ 1717995 h 2958168"/>
              <a:gd name="connsiteX3" fmla="*/ 15467147 w 16273653"/>
              <a:gd name="connsiteY3" fmla="*/ 2188049 h 2958168"/>
              <a:gd name="connsiteX4" fmla="*/ 3195023 w 16273653"/>
              <a:gd name="connsiteY4" fmla="*/ 2159512 h 2958168"/>
              <a:gd name="connsiteX5" fmla="*/ 2058354 w 16273653"/>
              <a:gd name="connsiteY5" fmla="*/ 2958168 h 2958168"/>
              <a:gd name="connsiteX6" fmla="*/ 877465 w 16273653"/>
              <a:gd name="connsiteY6" fmla="*/ 2174065 h 2958168"/>
              <a:gd name="connsiteX7" fmla="*/ 2 w 16273653"/>
              <a:gd name="connsiteY7" fmla="*/ 2188049 h 2958168"/>
              <a:gd name="connsiteX8" fmla="*/ 1 w 16273653"/>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76364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76364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76364 h 2958168"/>
              <a:gd name="connsiteX8" fmla="*/ 4872 w 16278524"/>
              <a:gd name="connsiteY8" fmla="*/ 0 h 2958168"/>
              <a:gd name="connsiteX0" fmla="*/ 1 w 16273653"/>
              <a:gd name="connsiteY0" fmla="*/ 0 h 2958168"/>
              <a:gd name="connsiteX1" fmla="*/ 16273141 w 16273653"/>
              <a:gd name="connsiteY1" fmla="*/ 0 h 2958168"/>
              <a:gd name="connsiteX2" fmla="*/ 16271886 w 16273653"/>
              <a:gd name="connsiteY2" fmla="*/ 1717995 h 2958168"/>
              <a:gd name="connsiteX3" fmla="*/ 15467147 w 16273653"/>
              <a:gd name="connsiteY3" fmla="*/ 2188049 h 2958168"/>
              <a:gd name="connsiteX4" fmla="*/ 3195023 w 16273653"/>
              <a:gd name="connsiteY4" fmla="*/ 2159512 h 2958168"/>
              <a:gd name="connsiteX5" fmla="*/ 2058354 w 16273653"/>
              <a:gd name="connsiteY5" fmla="*/ 2958168 h 2958168"/>
              <a:gd name="connsiteX6" fmla="*/ 877465 w 16273653"/>
              <a:gd name="connsiteY6" fmla="*/ 2174065 h 2958168"/>
              <a:gd name="connsiteX7" fmla="*/ 2 w 16273653"/>
              <a:gd name="connsiteY7" fmla="*/ 2195845 h 2958168"/>
              <a:gd name="connsiteX8" fmla="*/ 1 w 16273653"/>
              <a:gd name="connsiteY8" fmla="*/ 0 h 2958168"/>
              <a:gd name="connsiteX0" fmla="*/ 1 w 21695427"/>
              <a:gd name="connsiteY0" fmla="*/ 0 h 2958168"/>
              <a:gd name="connsiteX1" fmla="*/ 16273141 w 21695427"/>
              <a:gd name="connsiteY1" fmla="*/ 0 h 2958168"/>
              <a:gd name="connsiteX2" fmla="*/ 21694172 w 21695427"/>
              <a:gd name="connsiteY2" fmla="*/ 1820764 h 2958168"/>
              <a:gd name="connsiteX3" fmla="*/ 15467147 w 21695427"/>
              <a:gd name="connsiteY3" fmla="*/ 2188049 h 2958168"/>
              <a:gd name="connsiteX4" fmla="*/ 3195023 w 21695427"/>
              <a:gd name="connsiteY4" fmla="*/ 2159512 h 2958168"/>
              <a:gd name="connsiteX5" fmla="*/ 2058354 w 21695427"/>
              <a:gd name="connsiteY5" fmla="*/ 2958168 h 2958168"/>
              <a:gd name="connsiteX6" fmla="*/ 877465 w 21695427"/>
              <a:gd name="connsiteY6" fmla="*/ 2174065 h 2958168"/>
              <a:gd name="connsiteX7" fmla="*/ 2 w 21695427"/>
              <a:gd name="connsiteY7" fmla="*/ 2195845 h 2958168"/>
              <a:gd name="connsiteX8" fmla="*/ 1 w 21695427"/>
              <a:gd name="connsiteY8" fmla="*/ 0 h 2958168"/>
              <a:gd name="connsiteX0" fmla="*/ 1 w 21695427"/>
              <a:gd name="connsiteY0" fmla="*/ 0 h 2958168"/>
              <a:gd name="connsiteX1" fmla="*/ 21694172 w 21695427"/>
              <a:gd name="connsiteY1" fmla="*/ 0 h 2958168"/>
              <a:gd name="connsiteX2" fmla="*/ 21694172 w 21695427"/>
              <a:gd name="connsiteY2" fmla="*/ 1820764 h 2958168"/>
              <a:gd name="connsiteX3" fmla="*/ 15467147 w 21695427"/>
              <a:gd name="connsiteY3" fmla="*/ 2188049 h 2958168"/>
              <a:gd name="connsiteX4" fmla="*/ 3195023 w 21695427"/>
              <a:gd name="connsiteY4" fmla="*/ 2159512 h 2958168"/>
              <a:gd name="connsiteX5" fmla="*/ 2058354 w 21695427"/>
              <a:gd name="connsiteY5" fmla="*/ 2958168 h 2958168"/>
              <a:gd name="connsiteX6" fmla="*/ 877465 w 21695427"/>
              <a:gd name="connsiteY6" fmla="*/ 2174065 h 2958168"/>
              <a:gd name="connsiteX7" fmla="*/ 2 w 21695427"/>
              <a:gd name="connsiteY7" fmla="*/ 2195845 h 2958168"/>
              <a:gd name="connsiteX8" fmla="*/ 1 w 21695427"/>
              <a:gd name="connsiteY8" fmla="*/ 0 h 2958168"/>
              <a:gd name="connsiteX0" fmla="*/ 1 w 21695939"/>
              <a:gd name="connsiteY0" fmla="*/ 0 h 2958168"/>
              <a:gd name="connsiteX1" fmla="*/ 21695427 w 21695939"/>
              <a:gd name="connsiteY1" fmla="*/ 0 h 2958168"/>
              <a:gd name="connsiteX2" fmla="*/ 21694172 w 21695939"/>
              <a:gd name="connsiteY2" fmla="*/ 1820764 h 2958168"/>
              <a:gd name="connsiteX3" fmla="*/ 15467147 w 21695939"/>
              <a:gd name="connsiteY3" fmla="*/ 2188049 h 2958168"/>
              <a:gd name="connsiteX4" fmla="*/ 3195023 w 21695939"/>
              <a:gd name="connsiteY4" fmla="*/ 2159512 h 2958168"/>
              <a:gd name="connsiteX5" fmla="*/ 2058354 w 21695939"/>
              <a:gd name="connsiteY5" fmla="*/ 2958168 h 2958168"/>
              <a:gd name="connsiteX6" fmla="*/ 877465 w 21695939"/>
              <a:gd name="connsiteY6" fmla="*/ 2174065 h 2958168"/>
              <a:gd name="connsiteX7" fmla="*/ 2 w 21695939"/>
              <a:gd name="connsiteY7" fmla="*/ 2195845 h 2958168"/>
              <a:gd name="connsiteX8" fmla="*/ 1 w 21695939"/>
              <a:gd name="connsiteY8" fmla="*/ 0 h 2958168"/>
              <a:gd name="connsiteX0" fmla="*/ 1 w 21695939"/>
              <a:gd name="connsiteY0" fmla="*/ 0 h 2958168"/>
              <a:gd name="connsiteX1" fmla="*/ 21695427 w 21695939"/>
              <a:gd name="connsiteY1" fmla="*/ 0 h 2958168"/>
              <a:gd name="connsiteX2" fmla="*/ 21694172 w 21695939"/>
              <a:gd name="connsiteY2" fmla="*/ 1820764 h 2958168"/>
              <a:gd name="connsiteX3" fmla="*/ 20899883 w 21695939"/>
              <a:gd name="connsiteY3" fmla="*/ 2195845 h 2958168"/>
              <a:gd name="connsiteX4" fmla="*/ 3195023 w 21695939"/>
              <a:gd name="connsiteY4" fmla="*/ 2159512 h 2958168"/>
              <a:gd name="connsiteX5" fmla="*/ 2058354 w 21695939"/>
              <a:gd name="connsiteY5" fmla="*/ 2958168 h 2958168"/>
              <a:gd name="connsiteX6" fmla="*/ 877465 w 21695939"/>
              <a:gd name="connsiteY6" fmla="*/ 2174065 h 2958168"/>
              <a:gd name="connsiteX7" fmla="*/ 2 w 21695939"/>
              <a:gd name="connsiteY7" fmla="*/ 2195845 h 2958168"/>
              <a:gd name="connsiteX8" fmla="*/ 1 w 21695939"/>
              <a:gd name="connsiteY8" fmla="*/ 0 h 2958168"/>
              <a:gd name="connsiteX0" fmla="*/ 2 w 21700437"/>
              <a:gd name="connsiteY0" fmla="*/ 0 h 4325468"/>
              <a:gd name="connsiteX1" fmla="*/ 21699925 w 21700437"/>
              <a:gd name="connsiteY1" fmla="*/ 1367300 h 4325468"/>
              <a:gd name="connsiteX2" fmla="*/ 21698670 w 21700437"/>
              <a:gd name="connsiteY2" fmla="*/ 3188064 h 4325468"/>
              <a:gd name="connsiteX3" fmla="*/ 20904381 w 21700437"/>
              <a:gd name="connsiteY3" fmla="*/ 3563145 h 4325468"/>
              <a:gd name="connsiteX4" fmla="*/ 3199521 w 21700437"/>
              <a:gd name="connsiteY4" fmla="*/ 3526812 h 4325468"/>
              <a:gd name="connsiteX5" fmla="*/ 2062852 w 21700437"/>
              <a:gd name="connsiteY5" fmla="*/ 4325468 h 4325468"/>
              <a:gd name="connsiteX6" fmla="*/ 881963 w 21700437"/>
              <a:gd name="connsiteY6" fmla="*/ 3541365 h 4325468"/>
              <a:gd name="connsiteX7" fmla="*/ 4500 w 21700437"/>
              <a:gd name="connsiteY7" fmla="*/ 3563145 h 4325468"/>
              <a:gd name="connsiteX8" fmla="*/ 2 w 21700437"/>
              <a:gd name="connsiteY8" fmla="*/ 0 h 4325468"/>
              <a:gd name="connsiteX0" fmla="*/ 2 w 21699925"/>
              <a:gd name="connsiteY0" fmla="*/ 0 h 4325468"/>
              <a:gd name="connsiteX1" fmla="*/ 21698669 w 21699925"/>
              <a:gd name="connsiteY1" fmla="*/ 0 h 4325468"/>
              <a:gd name="connsiteX2" fmla="*/ 21698670 w 21699925"/>
              <a:gd name="connsiteY2" fmla="*/ 3188064 h 4325468"/>
              <a:gd name="connsiteX3" fmla="*/ 20904381 w 21699925"/>
              <a:gd name="connsiteY3" fmla="*/ 3563145 h 4325468"/>
              <a:gd name="connsiteX4" fmla="*/ 3199521 w 21699925"/>
              <a:gd name="connsiteY4" fmla="*/ 3526812 h 4325468"/>
              <a:gd name="connsiteX5" fmla="*/ 2062852 w 21699925"/>
              <a:gd name="connsiteY5" fmla="*/ 4325468 h 4325468"/>
              <a:gd name="connsiteX6" fmla="*/ 881963 w 21699925"/>
              <a:gd name="connsiteY6" fmla="*/ 3541365 h 4325468"/>
              <a:gd name="connsiteX7" fmla="*/ 4500 w 21699925"/>
              <a:gd name="connsiteY7" fmla="*/ 3563145 h 4325468"/>
              <a:gd name="connsiteX8" fmla="*/ 2 w 21699925"/>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1918176 w 22713720"/>
              <a:gd name="connsiteY3" fmla="*/ 3563145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1018295 w 22713720"/>
              <a:gd name="connsiteY7" fmla="*/ 3563145 h 4325468"/>
              <a:gd name="connsiteX8" fmla="*/ 3 w 22713720"/>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1918176 w 22713720"/>
              <a:gd name="connsiteY3" fmla="*/ 3563145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0 w 22713720"/>
              <a:gd name="connsiteY7" fmla="*/ 3529270 h 4325468"/>
              <a:gd name="connsiteX8" fmla="*/ 3 w 22713720"/>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1918176 w 22713720"/>
              <a:gd name="connsiteY3" fmla="*/ 3563145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2 w 22713720"/>
              <a:gd name="connsiteY7" fmla="*/ 3551158 h 4325468"/>
              <a:gd name="connsiteX8" fmla="*/ 3 w 22713720"/>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0899886 w 22713720"/>
              <a:gd name="connsiteY3" fmla="*/ 3551158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2 w 22713720"/>
              <a:gd name="connsiteY7" fmla="*/ 3551158 h 4325468"/>
              <a:gd name="connsiteX8" fmla="*/ 3 w 22713720"/>
              <a:gd name="connsiteY8" fmla="*/ 0 h 4325468"/>
              <a:gd name="connsiteX0" fmla="*/ 3 w 22712977"/>
              <a:gd name="connsiteY0" fmla="*/ 0 h 4325468"/>
              <a:gd name="connsiteX1" fmla="*/ 22712464 w 22712977"/>
              <a:gd name="connsiteY1" fmla="*/ 0 h 4325468"/>
              <a:gd name="connsiteX2" fmla="*/ 21694177 w 22712977"/>
              <a:gd name="connsiteY2" fmla="*/ 3166173 h 4325468"/>
              <a:gd name="connsiteX3" fmla="*/ 20899886 w 22712977"/>
              <a:gd name="connsiteY3" fmla="*/ 3551158 h 4325468"/>
              <a:gd name="connsiteX4" fmla="*/ 4213316 w 22712977"/>
              <a:gd name="connsiteY4" fmla="*/ 3526812 h 4325468"/>
              <a:gd name="connsiteX5" fmla="*/ 3076647 w 22712977"/>
              <a:gd name="connsiteY5" fmla="*/ 4325468 h 4325468"/>
              <a:gd name="connsiteX6" fmla="*/ 1895758 w 22712977"/>
              <a:gd name="connsiteY6" fmla="*/ 3541365 h 4325468"/>
              <a:gd name="connsiteX7" fmla="*/ 2 w 22712977"/>
              <a:gd name="connsiteY7" fmla="*/ 3551158 h 4325468"/>
              <a:gd name="connsiteX8" fmla="*/ 3 w 22712977"/>
              <a:gd name="connsiteY8" fmla="*/ 0 h 4325468"/>
              <a:gd name="connsiteX0" fmla="*/ 3 w 21695432"/>
              <a:gd name="connsiteY0" fmla="*/ 0 h 4325468"/>
              <a:gd name="connsiteX1" fmla="*/ 21153955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895758 w 21695432"/>
              <a:gd name="connsiteY6" fmla="*/ 3541365 h 4325468"/>
              <a:gd name="connsiteX7" fmla="*/ 2 w 21695432"/>
              <a:gd name="connsiteY7" fmla="*/ 3551158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895758 w 21695432"/>
              <a:gd name="connsiteY6" fmla="*/ 3541365 h 4325468"/>
              <a:gd name="connsiteX7" fmla="*/ 2 w 21695432"/>
              <a:gd name="connsiteY7" fmla="*/ 3551158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895758 w 21695432"/>
              <a:gd name="connsiteY6" fmla="*/ 3541365 h 4325468"/>
              <a:gd name="connsiteX7" fmla="*/ 5 w 21695432"/>
              <a:gd name="connsiteY7" fmla="*/ 3526990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902293 w 21695432"/>
              <a:gd name="connsiteY6" fmla="*/ 3526990 h 4325468"/>
              <a:gd name="connsiteX7" fmla="*/ 5 w 21695432"/>
              <a:gd name="connsiteY7" fmla="*/ 3526990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9849 w 21695432"/>
              <a:gd name="connsiteY4" fmla="*/ 3526990 h 4325468"/>
              <a:gd name="connsiteX5" fmla="*/ 3076647 w 21695432"/>
              <a:gd name="connsiteY5" fmla="*/ 4325468 h 4325468"/>
              <a:gd name="connsiteX6" fmla="*/ 1902293 w 21695432"/>
              <a:gd name="connsiteY6" fmla="*/ 3526990 h 4325468"/>
              <a:gd name="connsiteX7" fmla="*/ 5 w 21695432"/>
              <a:gd name="connsiteY7" fmla="*/ 3526990 h 4325468"/>
              <a:gd name="connsiteX8" fmla="*/ 3 w 21695432"/>
              <a:gd name="connsiteY8" fmla="*/ 0 h 4325468"/>
              <a:gd name="connsiteX0" fmla="*/ 0 w 21725855"/>
              <a:gd name="connsiteY0" fmla="*/ 10139197 h 10229976"/>
              <a:gd name="connsiteX1" fmla="*/ 21725167 w 21725855"/>
              <a:gd name="connsiteY1" fmla="*/ 3 h 10229976"/>
              <a:gd name="connsiteX2" fmla="*/ 21725167 w 21725855"/>
              <a:gd name="connsiteY2" fmla="*/ 3144285 h 10229976"/>
              <a:gd name="connsiteX3" fmla="*/ 20930876 w 21725855"/>
              <a:gd name="connsiteY3" fmla="*/ 3529270 h 10229976"/>
              <a:gd name="connsiteX4" fmla="*/ 4250839 w 21725855"/>
              <a:gd name="connsiteY4" fmla="*/ 3505102 h 10229976"/>
              <a:gd name="connsiteX5" fmla="*/ 3107637 w 21725855"/>
              <a:gd name="connsiteY5" fmla="*/ 4303580 h 10229976"/>
              <a:gd name="connsiteX6" fmla="*/ 1933283 w 21725855"/>
              <a:gd name="connsiteY6" fmla="*/ 3505102 h 10229976"/>
              <a:gd name="connsiteX7" fmla="*/ 30995 w 21725855"/>
              <a:gd name="connsiteY7" fmla="*/ 3505102 h 10229976"/>
              <a:gd name="connsiteX8" fmla="*/ 0 w 21725855"/>
              <a:gd name="connsiteY8" fmla="*/ 10139197 h 10229976"/>
              <a:gd name="connsiteX0" fmla="*/ 0 w 21725203"/>
              <a:gd name="connsiteY0" fmla="*/ 6995113 h 7085892"/>
              <a:gd name="connsiteX1" fmla="*/ 21694175 w 21725203"/>
              <a:gd name="connsiteY1" fmla="*/ 6952895 h 7085892"/>
              <a:gd name="connsiteX2" fmla="*/ 21725167 w 21725203"/>
              <a:gd name="connsiteY2" fmla="*/ 201 h 7085892"/>
              <a:gd name="connsiteX3" fmla="*/ 20930876 w 21725203"/>
              <a:gd name="connsiteY3" fmla="*/ 385186 h 7085892"/>
              <a:gd name="connsiteX4" fmla="*/ 4250839 w 21725203"/>
              <a:gd name="connsiteY4" fmla="*/ 361018 h 7085892"/>
              <a:gd name="connsiteX5" fmla="*/ 3107637 w 21725203"/>
              <a:gd name="connsiteY5" fmla="*/ 1159496 h 7085892"/>
              <a:gd name="connsiteX6" fmla="*/ 1933283 w 21725203"/>
              <a:gd name="connsiteY6" fmla="*/ 361018 h 7085892"/>
              <a:gd name="connsiteX7" fmla="*/ 30995 w 21725203"/>
              <a:gd name="connsiteY7" fmla="*/ 361018 h 7085892"/>
              <a:gd name="connsiteX8" fmla="*/ 0 w 21725203"/>
              <a:gd name="connsiteY8" fmla="*/ 6995113 h 7085892"/>
              <a:gd name="connsiteX0" fmla="*/ 0 w 21725203"/>
              <a:gd name="connsiteY0" fmla="*/ 6995113 h 7085892"/>
              <a:gd name="connsiteX1" fmla="*/ 21694175 w 21725203"/>
              <a:gd name="connsiteY1" fmla="*/ 6888786 h 7085892"/>
              <a:gd name="connsiteX2" fmla="*/ 21725167 w 21725203"/>
              <a:gd name="connsiteY2" fmla="*/ 201 h 7085892"/>
              <a:gd name="connsiteX3" fmla="*/ 20930876 w 21725203"/>
              <a:gd name="connsiteY3" fmla="*/ 385186 h 7085892"/>
              <a:gd name="connsiteX4" fmla="*/ 4250839 w 21725203"/>
              <a:gd name="connsiteY4" fmla="*/ 361018 h 7085892"/>
              <a:gd name="connsiteX5" fmla="*/ 3107637 w 21725203"/>
              <a:gd name="connsiteY5" fmla="*/ 1159496 h 7085892"/>
              <a:gd name="connsiteX6" fmla="*/ 1933283 w 21725203"/>
              <a:gd name="connsiteY6" fmla="*/ 361018 h 7085892"/>
              <a:gd name="connsiteX7" fmla="*/ 30995 w 21725203"/>
              <a:gd name="connsiteY7" fmla="*/ 361018 h 7085892"/>
              <a:gd name="connsiteX8" fmla="*/ 0 w 21725203"/>
              <a:gd name="connsiteY8" fmla="*/ 6995113 h 7085892"/>
              <a:gd name="connsiteX0" fmla="*/ 0 w 21725203"/>
              <a:gd name="connsiteY0" fmla="*/ 6995113 h 7085892"/>
              <a:gd name="connsiteX1" fmla="*/ 21694175 w 21725203"/>
              <a:gd name="connsiteY1" fmla="*/ 6920841 h 7085892"/>
              <a:gd name="connsiteX2" fmla="*/ 21725167 w 21725203"/>
              <a:gd name="connsiteY2" fmla="*/ 201 h 7085892"/>
              <a:gd name="connsiteX3" fmla="*/ 20930876 w 21725203"/>
              <a:gd name="connsiteY3" fmla="*/ 385186 h 7085892"/>
              <a:gd name="connsiteX4" fmla="*/ 4250839 w 21725203"/>
              <a:gd name="connsiteY4" fmla="*/ 361018 h 7085892"/>
              <a:gd name="connsiteX5" fmla="*/ 3107637 w 21725203"/>
              <a:gd name="connsiteY5" fmla="*/ 1159496 h 7085892"/>
              <a:gd name="connsiteX6" fmla="*/ 1933283 w 21725203"/>
              <a:gd name="connsiteY6" fmla="*/ 361018 h 7085892"/>
              <a:gd name="connsiteX7" fmla="*/ 30995 w 21725203"/>
              <a:gd name="connsiteY7" fmla="*/ 361018 h 7085892"/>
              <a:gd name="connsiteX8" fmla="*/ 0 w 21725203"/>
              <a:gd name="connsiteY8" fmla="*/ 6995113 h 7085892"/>
              <a:gd name="connsiteX0" fmla="*/ 0 w 21756164"/>
              <a:gd name="connsiteY0" fmla="*/ 6995113 h 7085892"/>
              <a:gd name="connsiteX1" fmla="*/ 21756159 w 21756164"/>
              <a:gd name="connsiteY1" fmla="*/ 6952895 h 7085892"/>
              <a:gd name="connsiteX2" fmla="*/ 21725167 w 21756164"/>
              <a:gd name="connsiteY2" fmla="*/ 201 h 7085892"/>
              <a:gd name="connsiteX3" fmla="*/ 20930876 w 21756164"/>
              <a:gd name="connsiteY3" fmla="*/ 385186 h 7085892"/>
              <a:gd name="connsiteX4" fmla="*/ 4250839 w 21756164"/>
              <a:gd name="connsiteY4" fmla="*/ 361018 h 7085892"/>
              <a:gd name="connsiteX5" fmla="*/ 3107637 w 21756164"/>
              <a:gd name="connsiteY5" fmla="*/ 1159496 h 7085892"/>
              <a:gd name="connsiteX6" fmla="*/ 1933283 w 21756164"/>
              <a:gd name="connsiteY6" fmla="*/ 361018 h 7085892"/>
              <a:gd name="connsiteX7" fmla="*/ 30995 w 21756164"/>
              <a:gd name="connsiteY7" fmla="*/ 361018 h 7085892"/>
              <a:gd name="connsiteX8" fmla="*/ 0 w 21756164"/>
              <a:gd name="connsiteY8" fmla="*/ 6995113 h 7085892"/>
              <a:gd name="connsiteX0" fmla="*/ 0 w 21756164"/>
              <a:gd name="connsiteY0" fmla="*/ 6995113 h 7086228"/>
              <a:gd name="connsiteX1" fmla="*/ 21756159 w 21756164"/>
              <a:gd name="connsiteY1" fmla="*/ 6952895 h 7086228"/>
              <a:gd name="connsiteX2" fmla="*/ 21725167 w 21756164"/>
              <a:gd name="connsiteY2" fmla="*/ 201 h 7086228"/>
              <a:gd name="connsiteX3" fmla="*/ 20930876 w 21756164"/>
              <a:gd name="connsiteY3" fmla="*/ 385186 h 7086228"/>
              <a:gd name="connsiteX4" fmla="*/ 4250839 w 21756164"/>
              <a:gd name="connsiteY4" fmla="*/ 361018 h 7086228"/>
              <a:gd name="connsiteX5" fmla="*/ 3107637 w 21756164"/>
              <a:gd name="connsiteY5" fmla="*/ 1159496 h 7086228"/>
              <a:gd name="connsiteX6" fmla="*/ 1933283 w 21756164"/>
              <a:gd name="connsiteY6" fmla="*/ 361018 h 7086228"/>
              <a:gd name="connsiteX7" fmla="*/ 2 w 21756164"/>
              <a:gd name="connsiteY7" fmla="*/ 393072 h 7086228"/>
              <a:gd name="connsiteX8" fmla="*/ 0 w 21756164"/>
              <a:gd name="connsiteY8" fmla="*/ 6995113 h 7086228"/>
              <a:gd name="connsiteX0" fmla="*/ 0 w 21756164"/>
              <a:gd name="connsiteY0" fmla="*/ 6995113 h 7086157"/>
              <a:gd name="connsiteX1" fmla="*/ 21756159 w 21756164"/>
              <a:gd name="connsiteY1" fmla="*/ 6952895 h 7086157"/>
              <a:gd name="connsiteX2" fmla="*/ 21725167 w 21756164"/>
              <a:gd name="connsiteY2" fmla="*/ 201 h 7086157"/>
              <a:gd name="connsiteX3" fmla="*/ 20930876 w 21756164"/>
              <a:gd name="connsiteY3" fmla="*/ 385186 h 7086157"/>
              <a:gd name="connsiteX4" fmla="*/ 4250839 w 21756164"/>
              <a:gd name="connsiteY4" fmla="*/ 361018 h 7086157"/>
              <a:gd name="connsiteX5" fmla="*/ 3107637 w 21756164"/>
              <a:gd name="connsiteY5" fmla="*/ 1159496 h 7086157"/>
              <a:gd name="connsiteX6" fmla="*/ 1933283 w 21756164"/>
              <a:gd name="connsiteY6" fmla="*/ 361018 h 7086157"/>
              <a:gd name="connsiteX7" fmla="*/ 26140 w 21756164"/>
              <a:gd name="connsiteY7" fmla="*/ 386312 h 7086157"/>
              <a:gd name="connsiteX8" fmla="*/ 0 w 21756164"/>
              <a:gd name="connsiteY8" fmla="*/ 6995113 h 7086157"/>
              <a:gd name="connsiteX0" fmla="*/ 0 w 21756164"/>
              <a:gd name="connsiteY0" fmla="*/ 6995113 h 7085875"/>
              <a:gd name="connsiteX1" fmla="*/ 21756159 w 21756164"/>
              <a:gd name="connsiteY1" fmla="*/ 6952895 h 7085875"/>
              <a:gd name="connsiteX2" fmla="*/ 21725167 w 21756164"/>
              <a:gd name="connsiteY2" fmla="*/ 201 h 7085875"/>
              <a:gd name="connsiteX3" fmla="*/ 20930876 w 21756164"/>
              <a:gd name="connsiteY3" fmla="*/ 385186 h 7085875"/>
              <a:gd name="connsiteX4" fmla="*/ 4250839 w 21756164"/>
              <a:gd name="connsiteY4" fmla="*/ 361018 h 7085875"/>
              <a:gd name="connsiteX5" fmla="*/ 3107637 w 21756164"/>
              <a:gd name="connsiteY5" fmla="*/ 1159496 h 7085875"/>
              <a:gd name="connsiteX6" fmla="*/ 1933283 w 21756164"/>
              <a:gd name="connsiteY6" fmla="*/ 361018 h 7085875"/>
              <a:gd name="connsiteX7" fmla="*/ 26140 w 21756164"/>
              <a:gd name="connsiteY7" fmla="*/ 359281 h 7085875"/>
              <a:gd name="connsiteX8" fmla="*/ 0 w 21756164"/>
              <a:gd name="connsiteY8" fmla="*/ 6995113 h 7085875"/>
              <a:gd name="connsiteX0" fmla="*/ 472961 w 21730024"/>
              <a:gd name="connsiteY0" fmla="*/ 6272426 h 6953376"/>
              <a:gd name="connsiteX1" fmla="*/ 21730019 w 21730024"/>
              <a:gd name="connsiteY1" fmla="*/ 6952895 h 6953376"/>
              <a:gd name="connsiteX2" fmla="*/ 21699027 w 21730024"/>
              <a:gd name="connsiteY2" fmla="*/ 201 h 6953376"/>
              <a:gd name="connsiteX3" fmla="*/ 20904736 w 21730024"/>
              <a:gd name="connsiteY3" fmla="*/ 385186 h 6953376"/>
              <a:gd name="connsiteX4" fmla="*/ 4224699 w 21730024"/>
              <a:gd name="connsiteY4" fmla="*/ 361018 h 6953376"/>
              <a:gd name="connsiteX5" fmla="*/ 3081497 w 21730024"/>
              <a:gd name="connsiteY5" fmla="*/ 1159496 h 6953376"/>
              <a:gd name="connsiteX6" fmla="*/ 1907143 w 21730024"/>
              <a:gd name="connsiteY6" fmla="*/ 361018 h 6953376"/>
              <a:gd name="connsiteX7" fmla="*/ 0 w 21730024"/>
              <a:gd name="connsiteY7" fmla="*/ 359281 h 6953376"/>
              <a:gd name="connsiteX8" fmla="*/ 472961 w 21730024"/>
              <a:gd name="connsiteY8" fmla="*/ 6272426 h 6953376"/>
              <a:gd name="connsiteX0" fmla="*/ 479 w 21730024"/>
              <a:gd name="connsiteY0" fmla="*/ 6946935 h 7038202"/>
              <a:gd name="connsiteX1" fmla="*/ 21730019 w 21730024"/>
              <a:gd name="connsiteY1" fmla="*/ 6952895 h 7038202"/>
              <a:gd name="connsiteX2" fmla="*/ 21699027 w 21730024"/>
              <a:gd name="connsiteY2" fmla="*/ 201 h 7038202"/>
              <a:gd name="connsiteX3" fmla="*/ 20904736 w 21730024"/>
              <a:gd name="connsiteY3" fmla="*/ 385186 h 7038202"/>
              <a:gd name="connsiteX4" fmla="*/ 4224699 w 21730024"/>
              <a:gd name="connsiteY4" fmla="*/ 361018 h 7038202"/>
              <a:gd name="connsiteX5" fmla="*/ 3081497 w 21730024"/>
              <a:gd name="connsiteY5" fmla="*/ 1159496 h 7038202"/>
              <a:gd name="connsiteX6" fmla="*/ 1907143 w 21730024"/>
              <a:gd name="connsiteY6" fmla="*/ 361018 h 7038202"/>
              <a:gd name="connsiteX7" fmla="*/ 0 w 21730024"/>
              <a:gd name="connsiteY7" fmla="*/ 359281 h 7038202"/>
              <a:gd name="connsiteX8" fmla="*/ 479 w 21730024"/>
              <a:gd name="connsiteY8" fmla="*/ 6946935 h 7038202"/>
              <a:gd name="connsiteX0" fmla="*/ 85846 w 21815391"/>
              <a:gd name="connsiteY0" fmla="*/ 6946935 h 6953376"/>
              <a:gd name="connsiteX1" fmla="*/ 21815386 w 21815391"/>
              <a:gd name="connsiteY1" fmla="*/ 6952895 h 6953376"/>
              <a:gd name="connsiteX2" fmla="*/ 21784394 w 21815391"/>
              <a:gd name="connsiteY2" fmla="*/ 201 h 6953376"/>
              <a:gd name="connsiteX3" fmla="*/ 20990103 w 21815391"/>
              <a:gd name="connsiteY3" fmla="*/ 385186 h 6953376"/>
              <a:gd name="connsiteX4" fmla="*/ 4310066 w 21815391"/>
              <a:gd name="connsiteY4" fmla="*/ 361018 h 6953376"/>
              <a:gd name="connsiteX5" fmla="*/ 3166864 w 21815391"/>
              <a:gd name="connsiteY5" fmla="*/ 1159496 h 6953376"/>
              <a:gd name="connsiteX6" fmla="*/ 1992510 w 21815391"/>
              <a:gd name="connsiteY6" fmla="*/ 361018 h 6953376"/>
              <a:gd name="connsiteX7" fmla="*/ 85367 w 21815391"/>
              <a:gd name="connsiteY7" fmla="*/ 359281 h 6953376"/>
              <a:gd name="connsiteX8" fmla="*/ 85846 w 21815391"/>
              <a:gd name="connsiteY8" fmla="*/ 6946935 h 6953376"/>
              <a:gd name="connsiteX0" fmla="*/ 479 w 21730024"/>
              <a:gd name="connsiteY0" fmla="*/ 6946935 h 6953376"/>
              <a:gd name="connsiteX1" fmla="*/ 21730019 w 21730024"/>
              <a:gd name="connsiteY1" fmla="*/ 6952895 h 6953376"/>
              <a:gd name="connsiteX2" fmla="*/ 21699027 w 21730024"/>
              <a:gd name="connsiteY2" fmla="*/ 201 h 6953376"/>
              <a:gd name="connsiteX3" fmla="*/ 20904736 w 21730024"/>
              <a:gd name="connsiteY3" fmla="*/ 385186 h 6953376"/>
              <a:gd name="connsiteX4" fmla="*/ 4224699 w 21730024"/>
              <a:gd name="connsiteY4" fmla="*/ 361018 h 6953376"/>
              <a:gd name="connsiteX5" fmla="*/ 3081497 w 21730024"/>
              <a:gd name="connsiteY5" fmla="*/ 1159496 h 6953376"/>
              <a:gd name="connsiteX6" fmla="*/ 1907143 w 21730024"/>
              <a:gd name="connsiteY6" fmla="*/ 361018 h 6953376"/>
              <a:gd name="connsiteX7" fmla="*/ 0 w 21730024"/>
              <a:gd name="connsiteY7" fmla="*/ 359281 h 6953376"/>
              <a:gd name="connsiteX8" fmla="*/ 479 w 21730024"/>
              <a:gd name="connsiteY8" fmla="*/ 6946935 h 6953376"/>
              <a:gd name="connsiteX0" fmla="*/ 479 w 21699030"/>
              <a:gd name="connsiteY0" fmla="*/ 6946937 h 6946937"/>
              <a:gd name="connsiteX1" fmla="*/ 21344051 w 21699030"/>
              <a:gd name="connsiteY1" fmla="*/ 6787711 h 6946937"/>
              <a:gd name="connsiteX2" fmla="*/ 21699027 w 21699030"/>
              <a:gd name="connsiteY2" fmla="*/ 203 h 6946937"/>
              <a:gd name="connsiteX3" fmla="*/ 20904736 w 21699030"/>
              <a:gd name="connsiteY3" fmla="*/ 385188 h 6946937"/>
              <a:gd name="connsiteX4" fmla="*/ 4224699 w 21699030"/>
              <a:gd name="connsiteY4" fmla="*/ 361020 h 6946937"/>
              <a:gd name="connsiteX5" fmla="*/ 3081497 w 21699030"/>
              <a:gd name="connsiteY5" fmla="*/ 1159498 h 6946937"/>
              <a:gd name="connsiteX6" fmla="*/ 1907143 w 21699030"/>
              <a:gd name="connsiteY6" fmla="*/ 361020 h 6946937"/>
              <a:gd name="connsiteX7" fmla="*/ 0 w 21699030"/>
              <a:gd name="connsiteY7" fmla="*/ 359283 h 6946937"/>
              <a:gd name="connsiteX8" fmla="*/ 479 w 21699030"/>
              <a:gd name="connsiteY8" fmla="*/ 6946937 h 6946937"/>
              <a:gd name="connsiteX0" fmla="*/ 479 w 21703452"/>
              <a:gd name="connsiteY0" fmla="*/ 6946935 h 6946935"/>
              <a:gd name="connsiteX1" fmla="*/ 21703403 w 21703452"/>
              <a:gd name="connsiteY1" fmla="*/ 6946012 h 6946935"/>
              <a:gd name="connsiteX2" fmla="*/ 21699027 w 21703452"/>
              <a:gd name="connsiteY2" fmla="*/ 201 h 6946935"/>
              <a:gd name="connsiteX3" fmla="*/ 20904736 w 21703452"/>
              <a:gd name="connsiteY3" fmla="*/ 385186 h 6946935"/>
              <a:gd name="connsiteX4" fmla="*/ 4224699 w 21703452"/>
              <a:gd name="connsiteY4" fmla="*/ 361018 h 6946935"/>
              <a:gd name="connsiteX5" fmla="*/ 3081497 w 21703452"/>
              <a:gd name="connsiteY5" fmla="*/ 1159496 h 6946935"/>
              <a:gd name="connsiteX6" fmla="*/ 1907143 w 21703452"/>
              <a:gd name="connsiteY6" fmla="*/ 361018 h 6946935"/>
              <a:gd name="connsiteX7" fmla="*/ 0 w 21703452"/>
              <a:gd name="connsiteY7" fmla="*/ 359281 h 6946935"/>
              <a:gd name="connsiteX8" fmla="*/ 479 w 21703452"/>
              <a:gd name="connsiteY8" fmla="*/ 6946935 h 6946935"/>
              <a:gd name="connsiteX0" fmla="*/ 479 w 21869774"/>
              <a:gd name="connsiteY0" fmla="*/ 6946945 h 6946945"/>
              <a:gd name="connsiteX1" fmla="*/ 21869772 w 21869774"/>
              <a:gd name="connsiteY1" fmla="*/ 6505527 h 6946945"/>
              <a:gd name="connsiteX2" fmla="*/ 21699027 w 21869774"/>
              <a:gd name="connsiteY2" fmla="*/ 211 h 6946945"/>
              <a:gd name="connsiteX3" fmla="*/ 20904736 w 21869774"/>
              <a:gd name="connsiteY3" fmla="*/ 385196 h 6946945"/>
              <a:gd name="connsiteX4" fmla="*/ 4224699 w 21869774"/>
              <a:gd name="connsiteY4" fmla="*/ 361028 h 6946945"/>
              <a:gd name="connsiteX5" fmla="*/ 3081497 w 21869774"/>
              <a:gd name="connsiteY5" fmla="*/ 1159506 h 6946945"/>
              <a:gd name="connsiteX6" fmla="*/ 1907143 w 21869774"/>
              <a:gd name="connsiteY6" fmla="*/ 361028 h 6946945"/>
              <a:gd name="connsiteX7" fmla="*/ 0 w 21869774"/>
              <a:gd name="connsiteY7" fmla="*/ 359291 h 6946945"/>
              <a:gd name="connsiteX8" fmla="*/ 479 w 21869774"/>
              <a:gd name="connsiteY8" fmla="*/ 6946945 h 6946945"/>
              <a:gd name="connsiteX0" fmla="*/ 479 w 21703454"/>
              <a:gd name="connsiteY0" fmla="*/ 6946935 h 6953376"/>
              <a:gd name="connsiteX1" fmla="*/ 21703405 w 21703454"/>
              <a:gd name="connsiteY1" fmla="*/ 6952895 h 6953376"/>
              <a:gd name="connsiteX2" fmla="*/ 21699027 w 21703454"/>
              <a:gd name="connsiteY2" fmla="*/ 201 h 6953376"/>
              <a:gd name="connsiteX3" fmla="*/ 20904736 w 21703454"/>
              <a:gd name="connsiteY3" fmla="*/ 385186 h 6953376"/>
              <a:gd name="connsiteX4" fmla="*/ 4224699 w 21703454"/>
              <a:gd name="connsiteY4" fmla="*/ 361018 h 6953376"/>
              <a:gd name="connsiteX5" fmla="*/ 3081497 w 21703454"/>
              <a:gd name="connsiteY5" fmla="*/ 1159496 h 6953376"/>
              <a:gd name="connsiteX6" fmla="*/ 1907143 w 21703454"/>
              <a:gd name="connsiteY6" fmla="*/ 361018 h 6953376"/>
              <a:gd name="connsiteX7" fmla="*/ 0 w 21703454"/>
              <a:gd name="connsiteY7" fmla="*/ 359281 h 6953376"/>
              <a:gd name="connsiteX8" fmla="*/ 479 w 21703454"/>
              <a:gd name="connsiteY8" fmla="*/ 6946935 h 6953376"/>
              <a:gd name="connsiteX0" fmla="*/ 479 w 21703404"/>
              <a:gd name="connsiteY0" fmla="*/ 6947131 h 6953091"/>
              <a:gd name="connsiteX1" fmla="*/ 21703405 w 21703404"/>
              <a:gd name="connsiteY1" fmla="*/ 6953091 h 6953091"/>
              <a:gd name="connsiteX2" fmla="*/ 21699027 w 21703404"/>
              <a:gd name="connsiteY2" fmla="*/ 397 h 6953091"/>
              <a:gd name="connsiteX3" fmla="*/ 20904736 w 21703404"/>
              <a:gd name="connsiteY3" fmla="*/ 385382 h 6953091"/>
              <a:gd name="connsiteX4" fmla="*/ 4224699 w 21703404"/>
              <a:gd name="connsiteY4" fmla="*/ 361214 h 6953091"/>
              <a:gd name="connsiteX5" fmla="*/ 3081497 w 21703404"/>
              <a:gd name="connsiteY5" fmla="*/ 1159692 h 6953091"/>
              <a:gd name="connsiteX6" fmla="*/ 1907143 w 21703404"/>
              <a:gd name="connsiteY6" fmla="*/ 361214 h 6953091"/>
              <a:gd name="connsiteX7" fmla="*/ 0 w 21703404"/>
              <a:gd name="connsiteY7" fmla="*/ 359477 h 6953091"/>
              <a:gd name="connsiteX8" fmla="*/ 479 w 21703404"/>
              <a:gd name="connsiteY8" fmla="*/ 6947131 h 6953091"/>
              <a:gd name="connsiteX0" fmla="*/ 479 w 21703404"/>
              <a:gd name="connsiteY0" fmla="*/ 6946733 h 6952693"/>
              <a:gd name="connsiteX1" fmla="*/ 21703405 w 21703404"/>
              <a:gd name="connsiteY1" fmla="*/ 6952693 h 6952693"/>
              <a:gd name="connsiteX2" fmla="*/ 21699027 w 21703404"/>
              <a:gd name="connsiteY2" fmla="*/ -1 h 6952693"/>
              <a:gd name="connsiteX3" fmla="*/ 20904736 w 21703404"/>
              <a:gd name="connsiteY3" fmla="*/ 384984 h 6952693"/>
              <a:gd name="connsiteX4" fmla="*/ 4224699 w 21703404"/>
              <a:gd name="connsiteY4" fmla="*/ 360816 h 6952693"/>
              <a:gd name="connsiteX5" fmla="*/ 3081497 w 21703404"/>
              <a:gd name="connsiteY5" fmla="*/ 1159294 h 6952693"/>
              <a:gd name="connsiteX6" fmla="*/ 1907143 w 21703404"/>
              <a:gd name="connsiteY6" fmla="*/ 360816 h 6952693"/>
              <a:gd name="connsiteX7" fmla="*/ 0 w 21703404"/>
              <a:gd name="connsiteY7" fmla="*/ 359079 h 6952693"/>
              <a:gd name="connsiteX8" fmla="*/ 479 w 21703404"/>
              <a:gd name="connsiteY8" fmla="*/ 6946733 h 6952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03404" h="6952693">
                <a:moveTo>
                  <a:pt x="479" y="6946733"/>
                </a:moveTo>
                <a:lnTo>
                  <a:pt x="21703405" y="6952693"/>
                </a:lnTo>
                <a:cubicBezTo>
                  <a:pt x="21701216" y="3476346"/>
                  <a:pt x="21706934" y="899518"/>
                  <a:pt x="21699027" y="-1"/>
                </a:cubicBezTo>
                <a:cubicBezTo>
                  <a:pt x="21554928" y="424890"/>
                  <a:pt x="21164498" y="379041"/>
                  <a:pt x="20904736" y="384984"/>
                </a:cubicBezTo>
                <a:lnTo>
                  <a:pt x="4224699" y="360816"/>
                </a:lnTo>
                <a:cubicBezTo>
                  <a:pt x="3647485" y="393958"/>
                  <a:pt x="3273106" y="696472"/>
                  <a:pt x="3081497" y="1159294"/>
                </a:cubicBezTo>
                <a:cubicBezTo>
                  <a:pt x="2783143" y="455517"/>
                  <a:pt x="2185783" y="359938"/>
                  <a:pt x="1907143" y="360816"/>
                </a:cubicBezTo>
                <a:lnTo>
                  <a:pt x="0" y="359079"/>
                </a:lnTo>
                <a:cubicBezTo>
                  <a:pt x="222" y="-2800"/>
                  <a:pt x="239" y="3652906"/>
                  <a:pt x="479" y="6946733"/>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18" name="Titre 1"/>
          <p:cNvSpPr>
            <a:spLocks noGrp="1"/>
          </p:cNvSpPr>
          <p:nvPr>
            <p:ph type="title" hasCustomPrompt="1"/>
            <p:custDataLst>
              <p:tags r:id="rId2"/>
            </p:custDataLst>
          </p:nvPr>
        </p:nvSpPr>
        <p:spPr>
          <a:xfrm>
            <a:off x="0" y="4699000"/>
            <a:ext cx="9144000" cy="899319"/>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36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sp>
        <p:nvSpPr>
          <p:cNvPr id="6" name="Text Placeholder 5"/>
          <p:cNvSpPr>
            <a:spLocks noGrp="1"/>
          </p:cNvSpPr>
          <p:nvPr>
            <p:ph type="body" sz="quarter" idx="10"/>
          </p:nvPr>
        </p:nvSpPr>
        <p:spPr>
          <a:xfrm>
            <a:off x="863600" y="5598319"/>
            <a:ext cx="7556500" cy="307777"/>
          </a:xfrm>
        </p:spPr>
        <p:txBody>
          <a:bodyPr/>
          <a:lstStyle>
            <a:lvl1pPr marL="0" indent="0">
              <a:buNone/>
              <a:defRPr sz="2000"/>
            </a:lvl1pPr>
            <a:lvl2pPr>
              <a:buNone/>
              <a:defRPr/>
            </a:lvl2pPr>
            <a:lvl3pPr>
              <a:buNone/>
              <a:defRPr/>
            </a:lvl3pPr>
            <a:lvl4pPr>
              <a:buNone/>
              <a:defRPr/>
            </a:lvl4pPr>
            <a:lvl5pPr>
              <a:buNone/>
              <a:defRPr/>
            </a:lvl5pPr>
          </a:lstStyle>
          <a:p>
            <a:pPr lvl="0"/>
            <a:r>
              <a:rPr lang="en-US" smtClean="0"/>
              <a:t>Click to edit Master text styles</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2_Section Header">
    <p:bg>
      <p:bgPr>
        <a:solidFill>
          <a:schemeClr val="accent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4" cstate="print">
            <a:extLst>
              <a:ext uri="{28A0092B-C50C-407E-A947-70E740481C1C}">
                <a14:useLocalDpi xmlns="" xmlns:a14="http://schemas.microsoft.com/office/drawing/2010/main" val="0"/>
              </a:ext>
            </a:extLst>
          </a:blip>
          <a:srcRect t="13502" b="6328"/>
          <a:stretch/>
        </p:blipFill>
        <p:spPr>
          <a:xfrm>
            <a:off x="0" y="-12526"/>
            <a:ext cx="9144000" cy="4772416"/>
          </a:xfrm>
          <a:prstGeom prst="rect">
            <a:avLst/>
          </a:prstGeom>
        </p:spPr>
      </p:pic>
      <p:sp>
        <p:nvSpPr>
          <p:cNvPr id="7" name="Rectangle 7"/>
          <p:cNvSpPr/>
          <p:nvPr userDrawn="1">
            <p:custDataLst>
              <p:tags r:id="rId1"/>
            </p:custDataLst>
          </p:nvPr>
        </p:nvSpPr>
        <p:spPr bwMode="auto">
          <a:xfrm>
            <a:off x="-2047" y="4029669"/>
            <a:ext cx="9147890" cy="2833417"/>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1744042 w 12324337"/>
              <a:gd name="connsiteY7" fmla="*/ 1175529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233913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188049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188049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188049 h 2958168"/>
              <a:gd name="connsiteX8" fmla="*/ 1763257 w 12324337"/>
              <a:gd name="connsiteY8" fmla="*/ 2791 h 2958168"/>
              <a:gd name="connsiteX0" fmla="*/ 1763256 w 13203131"/>
              <a:gd name="connsiteY0" fmla="*/ 0 h 2958168"/>
              <a:gd name="connsiteX1" fmla="*/ 13202375 w 13203131"/>
              <a:gd name="connsiteY1" fmla="*/ 0 h 2958168"/>
              <a:gd name="connsiteX2" fmla="*/ 13201877 w 13203131"/>
              <a:gd name="connsiteY2" fmla="*/ 1476338 h 2958168"/>
              <a:gd name="connsiteX3" fmla="*/ 11929314 w 13203131"/>
              <a:gd name="connsiteY3" fmla="*/ 2153103 h 2958168"/>
              <a:gd name="connsiteX4" fmla="*/ 4958278 w 13203131"/>
              <a:gd name="connsiteY4" fmla="*/ 2159512 h 2958168"/>
              <a:gd name="connsiteX5" fmla="*/ 3821609 w 13203131"/>
              <a:gd name="connsiteY5" fmla="*/ 2958168 h 2958168"/>
              <a:gd name="connsiteX6" fmla="*/ 2640720 w 13203131"/>
              <a:gd name="connsiteY6" fmla="*/ 2174065 h 2958168"/>
              <a:gd name="connsiteX7" fmla="*/ 1758386 w 13203131"/>
              <a:gd name="connsiteY7" fmla="*/ 2188049 h 2958168"/>
              <a:gd name="connsiteX8" fmla="*/ 1763256 w 13203131"/>
              <a:gd name="connsiteY8" fmla="*/ 0 h 2958168"/>
              <a:gd name="connsiteX0" fmla="*/ 4870 w 11444745"/>
              <a:gd name="connsiteY0" fmla="*/ 0 h 2958168"/>
              <a:gd name="connsiteX1" fmla="*/ 11443989 w 11444745"/>
              <a:gd name="connsiteY1" fmla="*/ 0 h 2958168"/>
              <a:gd name="connsiteX2" fmla="*/ 11443491 w 11444745"/>
              <a:gd name="connsiteY2" fmla="*/ 1476338 h 2958168"/>
              <a:gd name="connsiteX3" fmla="*/ 10170928 w 11444745"/>
              <a:gd name="connsiteY3" fmla="*/ 2153103 h 2958168"/>
              <a:gd name="connsiteX4" fmla="*/ 3199892 w 11444745"/>
              <a:gd name="connsiteY4" fmla="*/ 2159512 h 2958168"/>
              <a:gd name="connsiteX5" fmla="*/ 2063223 w 11444745"/>
              <a:gd name="connsiteY5" fmla="*/ 2958168 h 2958168"/>
              <a:gd name="connsiteX6" fmla="*/ 882334 w 11444745"/>
              <a:gd name="connsiteY6" fmla="*/ 2174065 h 2958168"/>
              <a:gd name="connsiteX7" fmla="*/ 0 w 11444745"/>
              <a:gd name="connsiteY7" fmla="*/ 2188049 h 2958168"/>
              <a:gd name="connsiteX8" fmla="*/ 4870 w 11444745"/>
              <a:gd name="connsiteY8" fmla="*/ 0 h 2958168"/>
              <a:gd name="connsiteX0" fmla="*/ 4870 w 16276755"/>
              <a:gd name="connsiteY0" fmla="*/ 0 h 2958168"/>
              <a:gd name="connsiteX1" fmla="*/ 11443989 w 16276755"/>
              <a:gd name="connsiteY1" fmla="*/ 0 h 2958168"/>
              <a:gd name="connsiteX2" fmla="*/ 16275500 w 16276755"/>
              <a:gd name="connsiteY2" fmla="*/ 1268652 h 2958168"/>
              <a:gd name="connsiteX3" fmla="*/ 10170928 w 16276755"/>
              <a:gd name="connsiteY3" fmla="*/ 2153103 h 2958168"/>
              <a:gd name="connsiteX4" fmla="*/ 3199892 w 16276755"/>
              <a:gd name="connsiteY4" fmla="*/ 2159512 h 2958168"/>
              <a:gd name="connsiteX5" fmla="*/ 2063223 w 16276755"/>
              <a:gd name="connsiteY5" fmla="*/ 2958168 h 2958168"/>
              <a:gd name="connsiteX6" fmla="*/ 882334 w 16276755"/>
              <a:gd name="connsiteY6" fmla="*/ 2174065 h 2958168"/>
              <a:gd name="connsiteX7" fmla="*/ 0 w 16276755"/>
              <a:gd name="connsiteY7" fmla="*/ 2188049 h 2958168"/>
              <a:gd name="connsiteX8" fmla="*/ 4870 w 16276755"/>
              <a:gd name="connsiteY8" fmla="*/ 0 h 2958168"/>
              <a:gd name="connsiteX0" fmla="*/ 4870 w 16276755"/>
              <a:gd name="connsiteY0" fmla="*/ 0 h 2958168"/>
              <a:gd name="connsiteX1" fmla="*/ 11443989 w 16276755"/>
              <a:gd name="connsiteY1" fmla="*/ 0 h 2958168"/>
              <a:gd name="connsiteX2" fmla="*/ 16275500 w 16276755"/>
              <a:gd name="connsiteY2" fmla="*/ 1268652 h 2958168"/>
              <a:gd name="connsiteX3" fmla="*/ 15472016 w 16276755"/>
              <a:gd name="connsiteY3" fmla="*/ 2188049 h 2958168"/>
              <a:gd name="connsiteX4" fmla="*/ 3199892 w 16276755"/>
              <a:gd name="connsiteY4" fmla="*/ 2159512 h 2958168"/>
              <a:gd name="connsiteX5" fmla="*/ 2063223 w 16276755"/>
              <a:gd name="connsiteY5" fmla="*/ 2958168 h 2958168"/>
              <a:gd name="connsiteX6" fmla="*/ 882334 w 16276755"/>
              <a:gd name="connsiteY6" fmla="*/ 2174065 h 2958168"/>
              <a:gd name="connsiteX7" fmla="*/ 0 w 16276755"/>
              <a:gd name="connsiteY7" fmla="*/ 2188049 h 2958168"/>
              <a:gd name="connsiteX8" fmla="*/ 4870 w 16276755"/>
              <a:gd name="connsiteY8" fmla="*/ 0 h 2958168"/>
              <a:gd name="connsiteX0" fmla="*/ 4870 w 16278010"/>
              <a:gd name="connsiteY0" fmla="*/ 0 h 2958168"/>
              <a:gd name="connsiteX1" fmla="*/ 11443989 w 16278010"/>
              <a:gd name="connsiteY1" fmla="*/ 0 h 2958168"/>
              <a:gd name="connsiteX2" fmla="*/ 16276755 w 16278010"/>
              <a:gd name="connsiteY2" fmla="*/ 1717995 h 2958168"/>
              <a:gd name="connsiteX3" fmla="*/ 15472016 w 16278010"/>
              <a:gd name="connsiteY3" fmla="*/ 2188049 h 2958168"/>
              <a:gd name="connsiteX4" fmla="*/ 3199892 w 16278010"/>
              <a:gd name="connsiteY4" fmla="*/ 2159512 h 2958168"/>
              <a:gd name="connsiteX5" fmla="*/ 2063223 w 16278010"/>
              <a:gd name="connsiteY5" fmla="*/ 2958168 h 2958168"/>
              <a:gd name="connsiteX6" fmla="*/ 882334 w 16278010"/>
              <a:gd name="connsiteY6" fmla="*/ 2174065 h 2958168"/>
              <a:gd name="connsiteX7" fmla="*/ 0 w 16278010"/>
              <a:gd name="connsiteY7" fmla="*/ 2188049 h 2958168"/>
              <a:gd name="connsiteX8" fmla="*/ 4870 w 16278010"/>
              <a:gd name="connsiteY8" fmla="*/ 0 h 2958168"/>
              <a:gd name="connsiteX0" fmla="*/ 4870 w 16278010"/>
              <a:gd name="connsiteY0" fmla="*/ 0 h 2958168"/>
              <a:gd name="connsiteX1" fmla="*/ 11443989 w 16278010"/>
              <a:gd name="connsiteY1" fmla="*/ 0 h 2958168"/>
              <a:gd name="connsiteX2" fmla="*/ 16276755 w 16278010"/>
              <a:gd name="connsiteY2" fmla="*/ 1717995 h 2958168"/>
              <a:gd name="connsiteX3" fmla="*/ 15472016 w 16278010"/>
              <a:gd name="connsiteY3" fmla="*/ 2188049 h 2958168"/>
              <a:gd name="connsiteX4" fmla="*/ 3199892 w 16278010"/>
              <a:gd name="connsiteY4" fmla="*/ 2159512 h 2958168"/>
              <a:gd name="connsiteX5" fmla="*/ 2063223 w 16278010"/>
              <a:gd name="connsiteY5" fmla="*/ 2958168 h 2958168"/>
              <a:gd name="connsiteX6" fmla="*/ 882334 w 16278010"/>
              <a:gd name="connsiteY6" fmla="*/ 2174065 h 2958168"/>
              <a:gd name="connsiteX7" fmla="*/ 0 w 16278010"/>
              <a:gd name="connsiteY7" fmla="*/ 2188049 h 2958168"/>
              <a:gd name="connsiteX8" fmla="*/ 4870 w 16278010"/>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1 w 16273653"/>
              <a:gd name="connsiteY0" fmla="*/ 0 h 2958168"/>
              <a:gd name="connsiteX1" fmla="*/ 16273141 w 16273653"/>
              <a:gd name="connsiteY1" fmla="*/ 0 h 2958168"/>
              <a:gd name="connsiteX2" fmla="*/ 16271886 w 16273653"/>
              <a:gd name="connsiteY2" fmla="*/ 1717995 h 2958168"/>
              <a:gd name="connsiteX3" fmla="*/ 15467147 w 16273653"/>
              <a:gd name="connsiteY3" fmla="*/ 2188049 h 2958168"/>
              <a:gd name="connsiteX4" fmla="*/ 3195023 w 16273653"/>
              <a:gd name="connsiteY4" fmla="*/ 2159512 h 2958168"/>
              <a:gd name="connsiteX5" fmla="*/ 2058354 w 16273653"/>
              <a:gd name="connsiteY5" fmla="*/ 2958168 h 2958168"/>
              <a:gd name="connsiteX6" fmla="*/ 877465 w 16273653"/>
              <a:gd name="connsiteY6" fmla="*/ 2174065 h 2958168"/>
              <a:gd name="connsiteX7" fmla="*/ 2 w 16273653"/>
              <a:gd name="connsiteY7" fmla="*/ 2188049 h 2958168"/>
              <a:gd name="connsiteX8" fmla="*/ 1 w 16273653"/>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76364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76364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76364 h 2958168"/>
              <a:gd name="connsiteX8" fmla="*/ 4872 w 16278524"/>
              <a:gd name="connsiteY8" fmla="*/ 0 h 2958168"/>
              <a:gd name="connsiteX0" fmla="*/ 1 w 16273653"/>
              <a:gd name="connsiteY0" fmla="*/ 0 h 2958168"/>
              <a:gd name="connsiteX1" fmla="*/ 16273141 w 16273653"/>
              <a:gd name="connsiteY1" fmla="*/ 0 h 2958168"/>
              <a:gd name="connsiteX2" fmla="*/ 16271886 w 16273653"/>
              <a:gd name="connsiteY2" fmla="*/ 1717995 h 2958168"/>
              <a:gd name="connsiteX3" fmla="*/ 15467147 w 16273653"/>
              <a:gd name="connsiteY3" fmla="*/ 2188049 h 2958168"/>
              <a:gd name="connsiteX4" fmla="*/ 3195023 w 16273653"/>
              <a:gd name="connsiteY4" fmla="*/ 2159512 h 2958168"/>
              <a:gd name="connsiteX5" fmla="*/ 2058354 w 16273653"/>
              <a:gd name="connsiteY5" fmla="*/ 2958168 h 2958168"/>
              <a:gd name="connsiteX6" fmla="*/ 877465 w 16273653"/>
              <a:gd name="connsiteY6" fmla="*/ 2174065 h 2958168"/>
              <a:gd name="connsiteX7" fmla="*/ 2 w 16273653"/>
              <a:gd name="connsiteY7" fmla="*/ 2195845 h 2958168"/>
              <a:gd name="connsiteX8" fmla="*/ 1 w 16273653"/>
              <a:gd name="connsiteY8" fmla="*/ 0 h 2958168"/>
              <a:gd name="connsiteX0" fmla="*/ 1 w 21695427"/>
              <a:gd name="connsiteY0" fmla="*/ 0 h 2958168"/>
              <a:gd name="connsiteX1" fmla="*/ 16273141 w 21695427"/>
              <a:gd name="connsiteY1" fmla="*/ 0 h 2958168"/>
              <a:gd name="connsiteX2" fmla="*/ 21694172 w 21695427"/>
              <a:gd name="connsiteY2" fmla="*/ 1820764 h 2958168"/>
              <a:gd name="connsiteX3" fmla="*/ 15467147 w 21695427"/>
              <a:gd name="connsiteY3" fmla="*/ 2188049 h 2958168"/>
              <a:gd name="connsiteX4" fmla="*/ 3195023 w 21695427"/>
              <a:gd name="connsiteY4" fmla="*/ 2159512 h 2958168"/>
              <a:gd name="connsiteX5" fmla="*/ 2058354 w 21695427"/>
              <a:gd name="connsiteY5" fmla="*/ 2958168 h 2958168"/>
              <a:gd name="connsiteX6" fmla="*/ 877465 w 21695427"/>
              <a:gd name="connsiteY6" fmla="*/ 2174065 h 2958168"/>
              <a:gd name="connsiteX7" fmla="*/ 2 w 21695427"/>
              <a:gd name="connsiteY7" fmla="*/ 2195845 h 2958168"/>
              <a:gd name="connsiteX8" fmla="*/ 1 w 21695427"/>
              <a:gd name="connsiteY8" fmla="*/ 0 h 2958168"/>
              <a:gd name="connsiteX0" fmla="*/ 1 w 21695427"/>
              <a:gd name="connsiteY0" fmla="*/ 0 h 2958168"/>
              <a:gd name="connsiteX1" fmla="*/ 21694172 w 21695427"/>
              <a:gd name="connsiteY1" fmla="*/ 0 h 2958168"/>
              <a:gd name="connsiteX2" fmla="*/ 21694172 w 21695427"/>
              <a:gd name="connsiteY2" fmla="*/ 1820764 h 2958168"/>
              <a:gd name="connsiteX3" fmla="*/ 15467147 w 21695427"/>
              <a:gd name="connsiteY3" fmla="*/ 2188049 h 2958168"/>
              <a:gd name="connsiteX4" fmla="*/ 3195023 w 21695427"/>
              <a:gd name="connsiteY4" fmla="*/ 2159512 h 2958168"/>
              <a:gd name="connsiteX5" fmla="*/ 2058354 w 21695427"/>
              <a:gd name="connsiteY5" fmla="*/ 2958168 h 2958168"/>
              <a:gd name="connsiteX6" fmla="*/ 877465 w 21695427"/>
              <a:gd name="connsiteY6" fmla="*/ 2174065 h 2958168"/>
              <a:gd name="connsiteX7" fmla="*/ 2 w 21695427"/>
              <a:gd name="connsiteY7" fmla="*/ 2195845 h 2958168"/>
              <a:gd name="connsiteX8" fmla="*/ 1 w 21695427"/>
              <a:gd name="connsiteY8" fmla="*/ 0 h 2958168"/>
              <a:gd name="connsiteX0" fmla="*/ 1 w 21695939"/>
              <a:gd name="connsiteY0" fmla="*/ 0 h 2958168"/>
              <a:gd name="connsiteX1" fmla="*/ 21695427 w 21695939"/>
              <a:gd name="connsiteY1" fmla="*/ 0 h 2958168"/>
              <a:gd name="connsiteX2" fmla="*/ 21694172 w 21695939"/>
              <a:gd name="connsiteY2" fmla="*/ 1820764 h 2958168"/>
              <a:gd name="connsiteX3" fmla="*/ 15467147 w 21695939"/>
              <a:gd name="connsiteY3" fmla="*/ 2188049 h 2958168"/>
              <a:gd name="connsiteX4" fmla="*/ 3195023 w 21695939"/>
              <a:gd name="connsiteY4" fmla="*/ 2159512 h 2958168"/>
              <a:gd name="connsiteX5" fmla="*/ 2058354 w 21695939"/>
              <a:gd name="connsiteY5" fmla="*/ 2958168 h 2958168"/>
              <a:gd name="connsiteX6" fmla="*/ 877465 w 21695939"/>
              <a:gd name="connsiteY6" fmla="*/ 2174065 h 2958168"/>
              <a:gd name="connsiteX7" fmla="*/ 2 w 21695939"/>
              <a:gd name="connsiteY7" fmla="*/ 2195845 h 2958168"/>
              <a:gd name="connsiteX8" fmla="*/ 1 w 21695939"/>
              <a:gd name="connsiteY8" fmla="*/ 0 h 2958168"/>
              <a:gd name="connsiteX0" fmla="*/ 1 w 21695939"/>
              <a:gd name="connsiteY0" fmla="*/ 0 h 2958168"/>
              <a:gd name="connsiteX1" fmla="*/ 21695427 w 21695939"/>
              <a:gd name="connsiteY1" fmla="*/ 0 h 2958168"/>
              <a:gd name="connsiteX2" fmla="*/ 21694172 w 21695939"/>
              <a:gd name="connsiteY2" fmla="*/ 1820764 h 2958168"/>
              <a:gd name="connsiteX3" fmla="*/ 20899883 w 21695939"/>
              <a:gd name="connsiteY3" fmla="*/ 2195845 h 2958168"/>
              <a:gd name="connsiteX4" fmla="*/ 3195023 w 21695939"/>
              <a:gd name="connsiteY4" fmla="*/ 2159512 h 2958168"/>
              <a:gd name="connsiteX5" fmla="*/ 2058354 w 21695939"/>
              <a:gd name="connsiteY5" fmla="*/ 2958168 h 2958168"/>
              <a:gd name="connsiteX6" fmla="*/ 877465 w 21695939"/>
              <a:gd name="connsiteY6" fmla="*/ 2174065 h 2958168"/>
              <a:gd name="connsiteX7" fmla="*/ 2 w 21695939"/>
              <a:gd name="connsiteY7" fmla="*/ 2195845 h 2958168"/>
              <a:gd name="connsiteX8" fmla="*/ 1 w 21695939"/>
              <a:gd name="connsiteY8" fmla="*/ 0 h 2958168"/>
              <a:gd name="connsiteX0" fmla="*/ 2 w 21700437"/>
              <a:gd name="connsiteY0" fmla="*/ 0 h 4325468"/>
              <a:gd name="connsiteX1" fmla="*/ 21699925 w 21700437"/>
              <a:gd name="connsiteY1" fmla="*/ 1367300 h 4325468"/>
              <a:gd name="connsiteX2" fmla="*/ 21698670 w 21700437"/>
              <a:gd name="connsiteY2" fmla="*/ 3188064 h 4325468"/>
              <a:gd name="connsiteX3" fmla="*/ 20904381 w 21700437"/>
              <a:gd name="connsiteY3" fmla="*/ 3563145 h 4325468"/>
              <a:gd name="connsiteX4" fmla="*/ 3199521 w 21700437"/>
              <a:gd name="connsiteY4" fmla="*/ 3526812 h 4325468"/>
              <a:gd name="connsiteX5" fmla="*/ 2062852 w 21700437"/>
              <a:gd name="connsiteY5" fmla="*/ 4325468 h 4325468"/>
              <a:gd name="connsiteX6" fmla="*/ 881963 w 21700437"/>
              <a:gd name="connsiteY6" fmla="*/ 3541365 h 4325468"/>
              <a:gd name="connsiteX7" fmla="*/ 4500 w 21700437"/>
              <a:gd name="connsiteY7" fmla="*/ 3563145 h 4325468"/>
              <a:gd name="connsiteX8" fmla="*/ 2 w 21700437"/>
              <a:gd name="connsiteY8" fmla="*/ 0 h 4325468"/>
              <a:gd name="connsiteX0" fmla="*/ 2 w 21699925"/>
              <a:gd name="connsiteY0" fmla="*/ 0 h 4325468"/>
              <a:gd name="connsiteX1" fmla="*/ 21698669 w 21699925"/>
              <a:gd name="connsiteY1" fmla="*/ 0 h 4325468"/>
              <a:gd name="connsiteX2" fmla="*/ 21698670 w 21699925"/>
              <a:gd name="connsiteY2" fmla="*/ 3188064 h 4325468"/>
              <a:gd name="connsiteX3" fmla="*/ 20904381 w 21699925"/>
              <a:gd name="connsiteY3" fmla="*/ 3563145 h 4325468"/>
              <a:gd name="connsiteX4" fmla="*/ 3199521 w 21699925"/>
              <a:gd name="connsiteY4" fmla="*/ 3526812 h 4325468"/>
              <a:gd name="connsiteX5" fmla="*/ 2062852 w 21699925"/>
              <a:gd name="connsiteY5" fmla="*/ 4325468 h 4325468"/>
              <a:gd name="connsiteX6" fmla="*/ 881963 w 21699925"/>
              <a:gd name="connsiteY6" fmla="*/ 3541365 h 4325468"/>
              <a:gd name="connsiteX7" fmla="*/ 4500 w 21699925"/>
              <a:gd name="connsiteY7" fmla="*/ 3563145 h 4325468"/>
              <a:gd name="connsiteX8" fmla="*/ 2 w 21699925"/>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1918176 w 22713720"/>
              <a:gd name="connsiteY3" fmla="*/ 3563145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1018295 w 22713720"/>
              <a:gd name="connsiteY7" fmla="*/ 3563145 h 4325468"/>
              <a:gd name="connsiteX8" fmla="*/ 3 w 22713720"/>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1918176 w 22713720"/>
              <a:gd name="connsiteY3" fmla="*/ 3563145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0 w 22713720"/>
              <a:gd name="connsiteY7" fmla="*/ 3529270 h 4325468"/>
              <a:gd name="connsiteX8" fmla="*/ 3 w 22713720"/>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1918176 w 22713720"/>
              <a:gd name="connsiteY3" fmla="*/ 3563145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2 w 22713720"/>
              <a:gd name="connsiteY7" fmla="*/ 3551158 h 4325468"/>
              <a:gd name="connsiteX8" fmla="*/ 3 w 22713720"/>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0899886 w 22713720"/>
              <a:gd name="connsiteY3" fmla="*/ 3551158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2 w 22713720"/>
              <a:gd name="connsiteY7" fmla="*/ 3551158 h 4325468"/>
              <a:gd name="connsiteX8" fmla="*/ 3 w 22713720"/>
              <a:gd name="connsiteY8" fmla="*/ 0 h 4325468"/>
              <a:gd name="connsiteX0" fmla="*/ 3 w 22712977"/>
              <a:gd name="connsiteY0" fmla="*/ 0 h 4325468"/>
              <a:gd name="connsiteX1" fmla="*/ 22712464 w 22712977"/>
              <a:gd name="connsiteY1" fmla="*/ 0 h 4325468"/>
              <a:gd name="connsiteX2" fmla="*/ 21694177 w 22712977"/>
              <a:gd name="connsiteY2" fmla="*/ 3166173 h 4325468"/>
              <a:gd name="connsiteX3" fmla="*/ 20899886 w 22712977"/>
              <a:gd name="connsiteY3" fmla="*/ 3551158 h 4325468"/>
              <a:gd name="connsiteX4" fmla="*/ 4213316 w 22712977"/>
              <a:gd name="connsiteY4" fmla="*/ 3526812 h 4325468"/>
              <a:gd name="connsiteX5" fmla="*/ 3076647 w 22712977"/>
              <a:gd name="connsiteY5" fmla="*/ 4325468 h 4325468"/>
              <a:gd name="connsiteX6" fmla="*/ 1895758 w 22712977"/>
              <a:gd name="connsiteY6" fmla="*/ 3541365 h 4325468"/>
              <a:gd name="connsiteX7" fmla="*/ 2 w 22712977"/>
              <a:gd name="connsiteY7" fmla="*/ 3551158 h 4325468"/>
              <a:gd name="connsiteX8" fmla="*/ 3 w 22712977"/>
              <a:gd name="connsiteY8" fmla="*/ 0 h 4325468"/>
              <a:gd name="connsiteX0" fmla="*/ 3 w 21695432"/>
              <a:gd name="connsiteY0" fmla="*/ 0 h 4325468"/>
              <a:gd name="connsiteX1" fmla="*/ 21153955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895758 w 21695432"/>
              <a:gd name="connsiteY6" fmla="*/ 3541365 h 4325468"/>
              <a:gd name="connsiteX7" fmla="*/ 2 w 21695432"/>
              <a:gd name="connsiteY7" fmla="*/ 3551158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895758 w 21695432"/>
              <a:gd name="connsiteY6" fmla="*/ 3541365 h 4325468"/>
              <a:gd name="connsiteX7" fmla="*/ 2 w 21695432"/>
              <a:gd name="connsiteY7" fmla="*/ 3551158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895758 w 21695432"/>
              <a:gd name="connsiteY6" fmla="*/ 3541365 h 4325468"/>
              <a:gd name="connsiteX7" fmla="*/ 5 w 21695432"/>
              <a:gd name="connsiteY7" fmla="*/ 3526990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902293 w 21695432"/>
              <a:gd name="connsiteY6" fmla="*/ 3526990 h 4325468"/>
              <a:gd name="connsiteX7" fmla="*/ 5 w 21695432"/>
              <a:gd name="connsiteY7" fmla="*/ 3526990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9849 w 21695432"/>
              <a:gd name="connsiteY4" fmla="*/ 3526990 h 4325468"/>
              <a:gd name="connsiteX5" fmla="*/ 3076647 w 21695432"/>
              <a:gd name="connsiteY5" fmla="*/ 4325468 h 4325468"/>
              <a:gd name="connsiteX6" fmla="*/ 1902293 w 21695432"/>
              <a:gd name="connsiteY6" fmla="*/ 3526990 h 4325468"/>
              <a:gd name="connsiteX7" fmla="*/ 5 w 21695432"/>
              <a:gd name="connsiteY7" fmla="*/ 3526990 h 4325468"/>
              <a:gd name="connsiteX8" fmla="*/ 3 w 21695432"/>
              <a:gd name="connsiteY8" fmla="*/ 0 h 4325468"/>
              <a:gd name="connsiteX0" fmla="*/ 0 w 21725855"/>
              <a:gd name="connsiteY0" fmla="*/ 10139197 h 10229976"/>
              <a:gd name="connsiteX1" fmla="*/ 21725167 w 21725855"/>
              <a:gd name="connsiteY1" fmla="*/ 3 h 10229976"/>
              <a:gd name="connsiteX2" fmla="*/ 21725167 w 21725855"/>
              <a:gd name="connsiteY2" fmla="*/ 3144285 h 10229976"/>
              <a:gd name="connsiteX3" fmla="*/ 20930876 w 21725855"/>
              <a:gd name="connsiteY3" fmla="*/ 3529270 h 10229976"/>
              <a:gd name="connsiteX4" fmla="*/ 4250839 w 21725855"/>
              <a:gd name="connsiteY4" fmla="*/ 3505102 h 10229976"/>
              <a:gd name="connsiteX5" fmla="*/ 3107637 w 21725855"/>
              <a:gd name="connsiteY5" fmla="*/ 4303580 h 10229976"/>
              <a:gd name="connsiteX6" fmla="*/ 1933283 w 21725855"/>
              <a:gd name="connsiteY6" fmla="*/ 3505102 h 10229976"/>
              <a:gd name="connsiteX7" fmla="*/ 30995 w 21725855"/>
              <a:gd name="connsiteY7" fmla="*/ 3505102 h 10229976"/>
              <a:gd name="connsiteX8" fmla="*/ 0 w 21725855"/>
              <a:gd name="connsiteY8" fmla="*/ 10139197 h 10229976"/>
              <a:gd name="connsiteX0" fmla="*/ 0 w 21725203"/>
              <a:gd name="connsiteY0" fmla="*/ 6995113 h 7085892"/>
              <a:gd name="connsiteX1" fmla="*/ 21694175 w 21725203"/>
              <a:gd name="connsiteY1" fmla="*/ 6952895 h 7085892"/>
              <a:gd name="connsiteX2" fmla="*/ 21725167 w 21725203"/>
              <a:gd name="connsiteY2" fmla="*/ 201 h 7085892"/>
              <a:gd name="connsiteX3" fmla="*/ 20930876 w 21725203"/>
              <a:gd name="connsiteY3" fmla="*/ 385186 h 7085892"/>
              <a:gd name="connsiteX4" fmla="*/ 4250839 w 21725203"/>
              <a:gd name="connsiteY4" fmla="*/ 361018 h 7085892"/>
              <a:gd name="connsiteX5" fmla="*/ 3107637 w 21725203"/>
              <a:gd name="connsiteY5" fmla="*/ 1159496 h 7085892"/>
              <a:gd name="connsiteX6" fmla="*/ 1933283 w 21725203"/>
              <a:gd name="connsiteY6" fmla="*/ 361018 h 7085892"/>
              <a:gd name="connsiteX7" fmla="*/ 30995 w 21725203"/>
              <a:gd name="connsiteY7" fmla="*/ 361018 h 7085892"/>
              <a:gd name="connsiteX8" fmla="*/ 0 w 21725203"/>
              <a:gd name="connsiteY8" fmla="*/ 6995113 h 7085892"/>
              <a:gd name="connsiteX0" fmla="*/ 0 w 21725203"/>
              <a:gd name="connsiteY0" fmla="*/ 6995113 h 7085892"/>
              <a:gd name="connsiteX1" fmla="*/ 21694175 w 21725203"/>
              <a:gd name="connsiteY1" fmla="*/ 6888786 h 7085892"/>
              <a:gd name="connsiteX2" fmla="*/ 21725167 w 21725203"/>
              <a:gd name="connsiteY2" fmla="*/ 201 h 7085892"/>
              <a:gd name="connsiteX3" fmla="*/ 20930876 w 21725203"/>
              <a:gd name="connsiteY3" fmla="*/ 385186 h 7085892"/>
              <a:gd name="connsiteX4" fmla="*/ 4250839 w 21725203"/>
              <a:gd name="connsiteY4" fmla="*/ 361018 h 7085892"/>
              <a:gd name="connsiteX5" fmla="*/ 3107637 w 21725203"/>
              <a:gd name="connsiteY5" fmla="*/ 1159496 h 7085892"/>
              <a:gd name="connsiteX6" fmla="*/ 1933283 w 21725203"/>
              <a:gd name="connsiteY6" fmla="*/ 361018 h 7085892"/>
              <a:gd name="connsiteX7" fmla="*/ 30995 w 21725203"/>
              <a:gd name="connsiteY7" fmla="*/ 361018 h 7085892"/>
              <a:gd name="connsiteX8" fmla="*/ 0 w 21725203"/>
              <a:gd name="connsiteY8" fmla="*/ 6995113 h 7085892"/>
              <a:gd name="connsiteX0" fmla="*/ 0 w 21725203"/>
              <a:gd name="connsiteY0" fmla="*/ 6995113 h 7085892"/>
              <a:gd name="connsiteX1" fmla="*/ 21694175 w 21725203"/>
              <a:gd name="connsiteY1" fmla="*/ 6920841 h 7085892"/>
              <a:gd name="connsiteX2" fmla="*/ 21725167 w 21725203"/>
              <a:gd name="connsiteY2" fmla="*/ 201 h 7085892"/>
              <a:gd name="connsiteX3" fmla="*/ 20930876 w 21725203"/>
              <a:gd name="connsiteY3" fmla="*/ 385186 h 7085892"/>
              <a:gd name="connsiteX4" fmla="*/ 4250839 w 21725203"/>
              <a:gd name="connsiteY4" fmla="*/ 361018 h 7085892"/>
              <a:gd name="connsiteX5" fmla="*/ 3107637 w 21725203"/>
              <a:gd name="connsiteY5" fmla="*/ 1159496 h 7085892"/>
              <a:gd name="connsiteX6" fmla="*/ 1933283 w 21725203"/>
              <a:gd name="connsiteY6" fmla="*/ 361018 h 7085892"/>
              <a:gd name="connsiteX7" fmla="*/ 30995 w 21725203"/>
              <a:gd name="connsiteY7" fmla="*/ 361018 h 7085892"/>
              <a:gd name="connsiteX8" fmla="*/ 0 w 21725203"/>
              <a:gd name="connsiteY8" fmla="*/ 6995113 h 7085892"/>
              <a:gd name="connsiteX0" fmla="*/ 0 w 21756164"/>
              <a:gd name="connsiteY0" fmla="*/ 6995113 h 7085892"/>
              <a:gd name="connsiteX1" fmla="*/ 21756159 w 21756164"/>
              <a:gd name="connsiteY1" fmla="*/ 6952895 h 7085892"/>
              <a:gd name="connsiteX2" fmla="*/ 21725167 w 21756164"/>
              <a:gd name="connsiteY2" fmla="*/ 201 h 7085892"/>
              <a:gd name="connsiteX3" fmla="*/ 20930876 w 21756164"/>
              <a:gd name="connsiteY3" fmla="*/ 385186 h 7085892"/>
              <a:gd name="connsiteX4" fmla="*/ 4250839 w 21756164"/>
              <a:gd name="connsiteY4" fmla="*/ 361018 h 7085892"/>
              <a:gd name="connsiteX5" fmla="*/ 3107637 w 21756164"/>
              <a:gd name="connsiteY5" fmla="*/ 1159496 h 7085892"/>
              <a:gd name="connsiteX6" fmla="*/ 1933283 w 21756164"/>
              <a:gd name="connsiteY6" fmla="*/ 361018 h 7085892"/>
              <a:gd name="connsiteX7" fmla="*/ 30995 w 21756164"/>
              <a:gd name="connsiteY7" fmla="*/ 361018 h 7085892"/>
              <a:gd name="connsiteX8" fmla="*/ 0 w 21756164"/>
              <a:gd name="connsiteY8" fmla="*/ 6995113 h 7085892"/>
              <a:gd name="connsiteX0" fmla="*/ 0 w 21756164"/>
              <a:gd name="connsiteY0" fmla="*/ 6995113 h 7086228"/>
              <a:gd name="connsiteX1" fmla="*/ 21756159 w 21756164"/>
              <a:gd name="connsiteY1" fmla="*/ 6952895 h 7086228"/>
              <a:gd name="connsiteX2" fmla="*/ 21725167 w 21756164"/>
              <a:gd name="connsiteY2" fmla="*/ 201 h 7086228"/>
              <a:gd name="connsiteX3" fmla="*/ 20930876 w 21756164"/>
              <a:gd name="connsiteY3" fmla="*/ 385186 h 7086228"/>
              <a:gd name="connsiteX4" fmla="*/ 4250839 w 21756164"/>
              <a:gd name="connsiteY4" fmla="*/ 361018 h 7086228"/>
              <a:gd name="connsiteX5" fmla="*/ 3107637 w 21756164"/>
              <a:gd name="connsiteY5" fmla="*/ 1159496 h 7086228"/>
              <a:gd name="connsiteX6" fmla="*/ 1933283 w 21756164"/>
              <a:gd name="connsiteY6" fmla="*/ 361018 h 7086228"/>
              <a:gd name="connsiteX7" fmla="*/ 2 w 21756164"/>
              <a:gd name="connsiteY7" fmla="*/ 393072 h 7086228"/>
              <a:gd name="connsiteX8" fmla="*/ 0 w 21756164"/>
              <a:gd name="connsiteY8" fmla="*/ 6995113 h 7086228"/>
              <a:gd name="connsiteX0" fmla="*/ 0 w 21756164"/>
              <a:gd name="connsiteY0" fmla="*/ 6995113 h 7086157"/>
              <a:gd name="connsiteX1" fmla="*/ 21756159 w 21756164"/>
              <a:gd name="connsiteY1" fmla="*/ 6952895 h 7086157"/>
              <a:gd name="connsiteX2" fmla="*/ 21725167 w 21756164"/>
              <a:gd name="connsiteY2" fmla="*/ 201 h 7086157"/>
              <a:gd name="connsiteX3" fmla="*/ 20930876 w 21756164"/>
              <a:gd name="connsiteY3" fmla="*/ 385186 h 7086157"/>
              <a:gd name="connsiteX4" fmla="*/ 4250839 w 21756164"/>
              <a:gd name="connsiteY4" fmla="*/ 361018 h 7086157"/>
              <a:gd name="connsiteX5" fmla="*/ 3107637 w 21756164"/>
              <a:gd name="connsiteY5" fmla="*/ 1159496 h 7086157"/>
              <a:gd name="connsiteX6" fmla="*/ 1933283 w 21756164"/>
              <a:gd name="connsiteY6" fmla="*/ 361018 h 7086157"/>
              <a:gd name="connsiteX7" fmla="*/ 26140 w 21756164"/>
              <a:gd name="connsiteY7" fmla="*/ 386312 h 7086157"/>
              <a:gd name="connsiteX8" fmla="*/ 0 w 21756164"/>
              <a:gd name="connsiteY8" fmla="*/ 6995113 h 7086157"/>
              <a:gd name="connsiteX0" fmla="*/ 0 w 21756164"/>
              <a:gd name="connsiteY0" fmla="*/ 6995113 h 7085875"/>
              <a:gd name="connsiteX1" fmla="*/ 21756159 w 21756164"/>
              <a:gd name="connsiteY1" fmla="*/ 6952895 h 7085875"/>
              <a:gd name="connsiteX2" fmla="*/ 21725167 w 21756164"/>
              <a:gd name="connsiteY2" fmla="*/ 201 h 7085875"/>
              <a:gd name="connsiteX3" fmla="*/ 20930876 w 21756164"/>
              <a:gd name="connsiteY3" fmla="*/ 385186 h 7085875"/>
              <a:gd name="connsiteX4" fmla="*/ 4250839 w 21756164"/>
              <a:gd name="connsiteY4" fmla="*/ 361018 h 7085875"/>
              <a:gd name="connsiteX5" fmla="*/ 3107637 w 21756164"/>
              <a:gd name="connsiteY5" fmla="*/ 1159496 h 7085875"/>
              <a:gd name="connsiteX6" fmla="*/ 1933283 w 21756164"/>
              <a:gd name="connsiteY6" fmla="*/ 361018 h 7085875"/>
              <a:gd name="connsiteX7" fmla="*/ 26140 w 21756164"/>
              <a:gd name="connsiteY7" fmla="*/ 359281 h 7085875"/>
              <a:gd name="connsiteX8" fmla="*/ 0 w 21756164"/>
              <a:gd name="connsiteY8" fmla="*/ 6995113 h 7085875"/>
              <a:gd name="connsiteX0" fmla="*/ 472961 w 21730024"/>
              <a:gd name="connsiteY0" fmla="*/ 6272426 h 6953376"/>
              <a:gd name="connsiteX1" fmla="*/ 21730019 w 21730024"/>
              <a:gd name="connsiteY1" fmla="*/ 6952895 h 6953376"/>
              <a:gd name="connsiteX2" fmla="*/ 21699027 w 21730024"/>
              <a:gd name="connsiteY2" fmla="*/ 201 h 6953376"/>
              <a:gd name="connsiteX3" fmla="*/ 20904736 w 21730024"/>
              <a:gd name="connsiteY3" fmla="*/ 385186 h 6953376"/>
              <a:gd name="connsiteX4" fmla="*/ 4224699 w 21730024"/>
              <a:gd name="connsiteY4" fmla="*/ 361018 h 6953376"/>
              <a:gd name="connsiteX5" fmla="*/ 3081497 w 21730024"/>
              <a:gd name="connsiteY5" fmla="*/ 1159496 h 6953376"/>
              <a:gd name="connsiteX6" fmla="*/ 1907143 w 21730024"/>
              <a:gd name="connsiteY6" fmla="*/ 361018 h 6953376"/>
              <a:gd name="connsiteX7" fmla="*/ 0 w 21730024"/>
              <a:gd name="connsiteY7" fmla="*/ 359281 h 6953376"/>
              <a:gd name="connsiteX8" fmla="*/ 472961 w 21730024"/>
              <a:gd name="connsiteY8" fmla="*/ 6272426 h 6953376"/>
              <a:gd name="connsiteX0" fmla="*/ 479 w 21730024"/>
              <a:gd name="connsiteY0" fmla="*/ 6946935 h 7038202"/>
              <a:gd name="connsiteX1" fmla="*/ 21730019 w 21730024"/>
              <a:gd name="connsiteY1" fmla="*/ 6952895 h 7038202"/>
              <a:gd name="connsiteX2" fmla="*/ 21699027 w 21730024"/>
              <a:gd name="connsiteY2" fmla="*/ 201 h 7038202"/>
              <a:gd name="connsiteX3" fmla="*/ 20904736 w 21730024"/>
              <a:gd name="connsiteY3" fmla="*/ 385186 h 7038202"/>
              <a:gd name="connsiteX4" fmla="*/ 4224699 w 21730024"/>
              <a:gd name="connsiteY4" fmla="*/ 361018 h 7038202"/>
              <a:gd name="connsiteX5" fmla="*/ 3081497 w 21730024"/>
              <a:gd name="connsiteY5" fmla="*/ 1159496 h 7038202"/>
              <a:gd name="connsiteX6" fmla="*/ 1907143 w 21730024"/>
              <a:gd name="connsiteY6" fmla="*/ 361018 h 7038202"/>
              <a:gd name="connsiteX7" fmla="*/ 0 w 21730024"/>
              <a:gd name="connsiteY7" fmla="*/ 359281 h 7038202"/>
              <a:gd name="connsiteX8" fmla="*/ 479 w 21730024"/>
              <a:gd name="connsiteY8" fmla="*/ 6946935 h 7038202"/>
              <a:gd name="connsiteX0" fmla="*/ 85846 w 21815391"/>
              <a:gd name="connsiteY0" fmla="*/ 6946935 h 6953376"/>
              <a:gd name="connsiteX1" fmla="*/ 21815386 w 21815391"/>
              <a:gd name="connsiteY1" fmla="*/ 6952895 h 6953376"/>
              <a:gd name="connsiteX2" fmla="*/ 21784394 w 21815391"/>
              <a:gd name="connsiteY2" fmla="*/ 201 h 6953376"/>
              <a:gd name="connsiteX3" fmla="*/ 20990103 w 21815391"/>
              <a:gd name="connsiteY3" fmla="*/ 385186 h 6953376"/>
              <a:gd name="connsiteX4" fmla="*/ 4310066 w 21815391"/>
              <a:gd name="connsiteY4" fmla="*/ 361018 h 6953376"/>
              <a:gd name="connsiteX5" fmla="*/ 3166864 w 21815391"/>
              <a:gd name="connsiteY5" fmla="*/ 1159496 h 6953376"/>
              <a:gd name="connsiteX6" fmla="*/ 1992510 w 21815391"/>
              <a:gd name="connsiteY6" fmla="*/ 361018 h 6953376"/>
              <a:gd name="connsiteX7" fmla="*/ 85367 w 21815391"/>
              <a:gd name="connsiteY7" fmla="*/ 359281 h 6953376"/>
              <a:gd name="connsiteX8" fmla="*/ 85846 w 21815391"/>
              <a:gd name="connsiteY8" fmla="*/ 6946935 h 6953376"/>
              <a:gd name="connsiteX0" fmla="*/ 479 w 21730024"/>
              <a:gd name="connsiteY0" fmla="*/ 6946935 h 6953376"/>
              <a:gd name="connsiteX1" fmla="*/ 21730019 w 21730024"/>
              <a:gd name="connsiteY1" fmla="*/ 6952895 h 6953376"/>
              <a:gd name="connsiteX2" fmla="*/ 21699027 w 21730024"/>
              <a:gd name="connsiteY2" fmla="*/ 201 h 6953376"/>
              <a:gd name="connsiteX3" fmla="*/ 20904736 w 21730024"/>
              <a:gd name="connsiteY3" fmla="*/ 385186 h 6953376"/>
              <a:gd name="connsiteX4" fmla="*/ 4224699 w 21730024"/>
              <a:gd name="connsiteY4" fmla="*/ 361018 h 6953376"/>
              <a:gd name="connsiteX5" fmla="*/ 3081497 w 21730024"/>
              <a:gd name="connsiteY5" fmla="*/ 1159496 h 6953376"/>
              <a:gd name="connsiteX6" fmla="*/ 1907143 w 21730024"/>
              <a:gd name="connsiteY6" fmla="*/ 361018 h 6953376"/>
              <a:gd name="connsiteX7" fmla="*/ 0 w 21730024"/>
              <a:gd name="connsiteY7" fmla="*/ 359281 h 6953376"/>
              <a:gd name="connsiteX8" fmla="*/ 479 w 21730024"/>
              <a:gd name="connsiteY8" fmla="*/ 6946935 h 6953376"/>
              <a:gd name="connsiteX0" fmla="*/ 479 w 21699030"/>
              <a:gd name="connsiteY0" fmla="*/ 6946937 h 6946937"/>
              <a:gd name="connsiteX1" fmla="*/ 21344051 w 21699030"/>
              <a:gd name="connsiteY1" fmla="*/ 6787711 h 6946937"/>
              <a:gd name="connsiteX2" fmla="*/ 21699027 w 21699030"/>
              <a:gd name="connsiteY2" fmla="*/ 203 h 6946937"/>
              <a:gd name="connsiteX3" fmla="*/ 20904736 w 21699030"/>
              <a:gd name="connsiteY3" fmla="*/ 385188 h 6946937"/>
              <a:gd name="connsiteX4" fmla="*/ 4224699 w 21699030"/>
              <a:gd name="connsiteY4" fmla="*/ 361020 h 6946937"/>
              <a:gd name="connsiteX5" fmla="*/ 3081497 w 21699030"/>
              <a:gd name="connsiteY5" fmla="*/ 1159498 h 6946937"/>
              <a:gd name="connsiteX6" fmla="*/ 1907143 w 21699030"/>
              <a:gd name="connsiteY6" fmla="*/ 361020 h 6946937"/>
              <a:gd name="connsiteX7" fmla="*/ 0 w 21699030"/>
              <a:gd name="connsiteY7" fmla="*/ 359283 h 6946937"/>
              <a:gd name="connsiteX8" fmla="*/ 479 w 21699030"/>
              <a:gd name="connsiteY8" fmla="*/ 6946937 h 6946937"/>
              <a:gd name="connsiteX0" fmla="*/ 479 w 21703452"/>
              <a:gd name="connsiteY0" fmla="*/ 6946935 h 6946935"/>
              <a:gd name="connsiteX1" fmla="*/ 21703403 w 21703452"/>
              <a:gd name="connsiteY1" fmla="*/ 6946012 h 6946935"/>
              <a:gd name="connsiteX2" fmla="*/ 21699027 w 21703452"/>
              <a:gd name="connsiteY2" fmla="*/ 201 h 6946935"/>
              <a:gd name="connsiteX3" fmla="*/ 20904736 w 21703452"/>
              <a:gd name="connsiteY3" fmla="*/ 385186 h 6946935"/>
              <a:gd name="connsiteX4" fmla="*/ 4224699 w 21703452"/>
              <a:gd name="connsiteY4" fmla="*/ 361018 h 6946935"/>
              <a:gd name="connsiteX5" fmla="*/ 3081497 w 21703452"/>
              <a:gd name="connsiteY5" fmla="*/ 1159496 h 6946935"/>
              <a:gd name="connsiteX6" fmla="*/ 1907143 w 21703452"/>
              <a:gd name="connsiteY6" fmla="*/ 361018 h 6946935"/>
              <a:gd name="connsiteX7" fmla="*/ 0 w 21703452"/>
              <a:gd name="connsiteY7" fmla="*/ 359281 h 6946935"/>
              <a:gd name="connsiteX8" fmla="*/ 479 w 21703452"/>
              <a:gd name="connsiteY8" fmla="*/ 6946935 h 6946935"/>
              <a:gd name="connsiteX0" fmla="*/ 479 w 21869774"/>
              <a:gd name="connsiteY0" fmla="*/ 6946945 h 6946945"/>
              <a:gd name="connsiteX1" fmla="*/ 21869772 w 21869774"/>
              <a:gd name="connsiteY1" fmla="*/ 6505527 h 6946945"/>
              <a:gd name="connsiteX2" fmla="*/ 21699027 w 21869774"/>
              <a:gd name="connsiteY2" fmla="*/ 211 h 6946945"/>
              <a:gd name="connsiteX3" fmla="*/ 20904736 w 21869774"/>
              <a:gd name="connsiteY3" fmla="*/ 385196 h 6946945"/>
              <a:gd name="connsiteX4" fmla="*/ 4224699 w 21869774"/>
              <a:gd name="connsiteY4" fmla="*/ 361028 h 6946945"/>
              <a:gd name="connsiteX5" fmla="*/ 3081497 w 21869774"/>
              <a:gd name="connsiteY5" fmla="*/ 1159506 h 6946945"/>
              <a:gd name="connsiteX6" fmla="*/ 1907143 w 21869774"/>
              <a:gd name="connsiteY6" fmla="*/ 361028 h 6946945"/>
              <a:gd name="connsiteX7" fmla="*/ 0 w 21869774"/>
              <a:gd name="connsiteY7" fmla="*/ 359291 h 6946945"/>
              <a:gd name="connsiteX8" fmla="*/ 479 w 21869774"/>
              <a:gd name="connsiteY8" fmla="*/ 6946945 h 6946945"/>
              <a:gd name="connsiteX0" fmla="*/ 479 w 21703454"/>
              <a:gd name="connsiteY0" fmla="*/ 6946935 h 6953376"/>
              <a:gd name="connsiteX1" fmla="*/ 21703405 w 21703454"/>
              <a:gd name="connsiteY1" fmla="*/ 6952895 h 6953376"/>
              <a:gd name="connsiteX2" fmla="*/ 21699027 w 21703454"/>
              <a:gd name="connsiteY2" fmla="*/ 201 h 6953376"/>
              <a:gd name="connsiteX3" fmla="*/ 20904736 w 21703454"/>
              <a:gd name="connsiteY3" fmla="*/ 385186 h 6953376"/>
              <a:gd name="connsiteX4" fmla="*/ 4224699 w 21703454"/>
              <a:gd name="connsiteY4" fmla="*/ 361018 h 6953376"/>
              <a:gd name="connsiteX5" fmla="*/ 3081497 w 21703454"/>
              <a:gd name="connsiteY5" fmla="*/ 1159496 h 6953376"/>
              <a:gd name="connsiteX6" fmla="*/ 1907143 w 21703454"/>
              <a:gd name="connsiteY6" fmla="*/ 361018 h 6953376"/>
              <a:gd name="connsiteX7" fmla="*/ 0 w 21703454"/>
              <a:gd name="connsiteY7" fmla="*/ 359281 h 6953376"/>
              <a:gd name="connsiteX8" fmla="*/ 479 w 21703454"/>
              <a:gd name="connsiteY8" fmla="*/ 6946935 h 6953376"/>
              <a:gd name="connsiteX0" fmla="*/ 479 w 21703404"/>
              <a:gd name="connsiteY0" fmla="*/ 6947131 h 6953091"/>
              <a:gd name="connsiteX1" fmla="*/ 21703405 w 21703404"/>
              <a:gd name="connsiteY1" fmla="*/ 6953091 h 6953091"/>
              <a:gd name="connsiteX2" fmla="*/ 21699027 w 21703404"/>
              <a:gd name="connsiteY2" fmla="*/ 397 h 6953091"/>
              <a:gd name="connsiteX3" fmla="*/ 20904736 w 21703404"/>
              <a:gd name="connsiteY3" fmla="*/ 385382 h 6953091"/>
              <a:gd name="connsiteX4" fmla="*/ 4224699 w 21703404"/>
              <a:gd name="connsiteY4" fmla="*/ 361214 h 6953091"/>
              <a:gd name="connsiteX5" fmla="*/ 3081497 w 21703404"/>
              <a:gd name="connsiteY5" fmla="*/ 1159692 h 6953091"/>
              <a:gd name="connsiteX6" fmla="*/ 1907143 w 21703404"/>
              <a:gd name="connsiteY6" fmla="*/ 361214 h 6953091"/>
              <a:gd name="connsiteX7" fmla="*/ 0 w 21703404"/>
              <a:gd name="connsiteY7" fmla="*/ 359477 h 6953091"/>
              <a:gd name="connsiteX8" fmla="*/ 479 w 21703404"/>
              <a:gd name="connsiteY8" fmla="*/ 6947131 h 6953091"/>
              <a:gd name="connsiteX0" fmla="*/ 479 w 21703404"/>
              <a:gd name="connsiteY0" fmla="*/ 6946733 h 6952693"/>
              <a:gd name="connsiteX1" fmla="*/ 21703405 w 21703404"/>
              <a:gd name="connsiteY1" fmla="*/ 6952693 h 6952693"/>
              <a:gd name="connsiteX2" fmla="*/ 21699027 w 21703404"/>
              <a:gd name="connsiteY2" fmla="*/ -1 h 6952693"/>
              <a:gd name="connsiteX3" fmla="*/ 20904736 w 21703404"/>
              <a:gd name="connsiteY3" fmla="*/ 384984 h 6952693"/>
              <a:gd name="connsiteX4" fmla="*/ 4224699 w 21703404"/>
              <a:gd name="connsiteY4" fmla="*/ 360816 h 6952693"/>
              <a:gd name="connsiteX5" fmla="*/ 3081497 w 21703404"/>
              <a:gd name="connsiteY5" fmla="*/ 1159294 h 6952693"/>
              <a:gd name="connsiteX6" fmla="*/ 1907143 w 21703404"/>
              <a:gd name="connsiteY6" fmla="*/ 360816 h 6952693"/>
              <a:gd name="connsiteX7" fmla="*/ 0 w 21703404"/>
              <a:gd name="connsiteY7" fmla="*/ 359079 h 6952693"/>
              <a:gd name="connsiteX8" fmla="*/ 479 w 21703404"/>
              <a:gd name="connsiteY8" fmla="*/ 6946733 h 6952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03404" h="6952693">
                <a:moveTo>
                  <a:pt x="479" y="6946733"/>
                </a:moveTo>
                <a:lnTo>
                  <a:pt x="21703405" y="6952693"/>
                </a:lnTo>
                <a:cubicBezTo>
                  <a:pt x="21701216" y="3476346"/>
                  <a:pt x="21706934" y="899518"/>
                  <a:pt x="21699027" y="-1"/>
                </a:cubicBezTo>
                <a:cubicBezTo>
                  <a:pt x="21554928" y="424890"/>
                  <a:pt x="21164498" y="379041"/>
                  <a:pt x="20904736" y="384984"/>
                </a:cubicBezTo>
                <a:lnTo>
                  <a:pt x="4224699" y="360816"/>
                </a:lnTo>
                <a:cubicBezTo>
                  <a:pt x="3647485" y="393958"/>
                  <a:pt x="3273106" y="696472"/>
                  <a:pt x="3081497" y="1159294"/>
                </a:cubicBezTo>
                <a:cubicBezTo>
                  <a:pt x="2783143" y="455517"/>
                  <a:pt x="2185783" y="359938"/>
                  <a:pt x="1907143" y="360816"/>
                </a:cubicBezTo>
                <a:lnTo>
                  <a:pt x="0" y="359079"/>
                </a:lnTo>
                <a:cubicBezTo>
                  <a:pt x="222" y="-2800"/>
                  <a:pt x="239" y="3652906"/>
                  <a:pt x="479" y="6946733"/>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18" name="Titre 1"/>
          <p:cNvSpPr>
            <a:spLocks noGrp="1"/>
          </p:cNvSpPr>
          <p:nvPr>
            <p:ph type="title" hasCustomPrompt="1"/>
            <p:custDataLst>
              <p:tags r:id="rId2"/>
            </p:custDataLst>
          </p:nvPr>
        </p:nvSpPr>
        <p:spPr>
          <a:xfrm>
            <a:off x="0" y="4699000"/>
            <a:ext cx="9144000" cy="899319"/>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36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sp>
        <p:nvSpPr>
          <p:cNvPr id="6" name="Text Placeholder 5"/>
          <p:cNvSpPr>
            <a:spLocks noGrp="1"/>
          </p:cNvSpPr>
          <p:nvPr>
            <p:ph type="body" sz="quarter" idx="10"/>
          </p:nvPr>
        </p:nvSpPr>
        <p:spPr>
          <a:xfrm>
            <a:off x="863600" y="5598319"/>
            <a:ext cx="7556500" cy="307777"/>
          </a:xfrm>
        </p:spPr>
        <p:txBody>
          <a:bodyPr/>
          <a:lstStyle>
            <a:lvl1pPr marL="0" indent="0">
              <a:buNone/>
              <a:defRPr sz="2000"/>
            </a:lvl1pPr>
            <a:lvl2pPr>
              <a:buNone/>
              <a:defRPr/>
            </a:lvl2pPr>
            <a:lvl3pPr>
              <a:buNone/>
              <a:defRPr/>
            </a:lvl3pPr>
            <a:lvl4pPr>
              <a:buNone/>
              <a:defRPr/>
            </a:lvl4pPr>
            <a:lvl5pPr>
              <a:buNone/>
              <a:defRPr/>
            </a:lvl5pPr>
          </a:lstStyle>
          <a:p>
            <a:pPr lvl="0"/>
            <a:r>
              <a:rPr lang="en-US" smtClean="0"/>
              <a:t>Click to edit Master text styles</a:t>
            </a:r>
          </a:p>
        </p:txBody>
      </p:sp>
    </p:spTree>
    <p:extLst>
      <p:ext uri="{BB962C8B-B14F-4D97-AF65-F5344CB8AC3E}">
        <p14:creationId xmlns="" xmlns:p14="http://schemas.microsoft.com/office/powerpoint/2010/main" val="417692519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1_Section Header">
    <p:bg>
      <p:bgPr>
        <a:solidFill>
          <a:schemeClr val="accent2"/>
        </a:solidFill>
        <a:effectLst/>
      </p:bgPr>
    </p:bg>
    <p:spTree>
      <p:nvGrpSpPr>
        <p:cNvPr id="1" name=""/>
        <p:cNvGrpSpPr/>
        <p:nvPr/>
      </p:nvGrpSpPr>
      <p:grpSpPr>
        <a:xfrm>
          <a:off x="0" y="0"/>
          <a:ext cx="0" cy="0"/>
          <a:chOff x="0" y="0"/>
          <a:chExt cx="0" cy="0"/>
        </a:xfrm>
      </p:grpSpPr>
      <p:grpSp>
        <p:nvGrpSpPr>
          <p:cNvPr id="10" name="Group 9"/>
          <p:cNvGrpSpPr/>
          <p:nvPr userDrawn="1"/>
        </p:nvGrpSpPr>
        <p:grpSpPr>
          <a:xfrm>
            <a:off x="2" y="0"/>
            <a:ext cx="9143999" cy="4543720"/>
            <a:chOff x="27934" y="0"/>
            <a:chExt cx="9116066" cy="4543720"/>
          </a:xfrm>
        </p:grpSpPr>
        <p:sp>
          <p:nvSpPr>
            <p:cNvPr id="9" name="Rectangle 8"/>
            <p:cNvSpPr/>
            <p:nvPr userDrawn="1"/>
          </p:nvSpPr>
          <p:spPr>
            <a:xfrm>
              <a:off x="945823" y="4204067"/>
              <a:ext cx="741575" cy="339653"/>
            </a:xfrm>
            <a:prstGeom prst="rect">
              <a:avLst/>
            </a:prstGeom>
            <a:solidFill>
              <a:srgbClr val="4018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grpSp>
          <p:nvGrpSpPr>
            <p:cNvPr id="5" name="Group 4"/>
            <p:cNvGrpSpPr/>
            <p:nvPr userDrawn="1"/>
          </p:nvGrpSpPr>
          <p:grpSpPr>
            <a:xfrm>
              <a:off x="27934" y="0"/>
              <a:ext cx="9116066" cy="4204067"/>
              <a:chOff x="-581981" y="0"/>
              <a:chExt cx="9725981" cy="4485342"/>
            </a:xfrm>
          </p:grpSpPr>
          <p:pic>
            <p:nvPicPr>
              <p:cNvPr id="4" name="Picture 3"/>
              <p:cNvPicPr>
                <a:picLocks noChangeAspect="1"/>
              </p:cNvPicPr>
              <p:nvPr userDrawn="1"/>
            </p:nvPicPr>
            <p:blipFill>
              <a:blip r:embed="rId4" cstate="print">
                <a:extLst>
                  <a:ext uri="{28A0092B-C50C-407E-A947-70E740481C1C}">
                    <a14:useLocalDpi xmlns="" xmlns:a14="http://schemas.microsoft.com/office/drawing/2010/main" val="0"/>
                  </a:ext>
                </a:extLst>
              </a:blip>
              <a:stretch>
                <a:fillRect/>
              </a:stretch>
            </p:blipFill>
            <p:spPr>
              <a:xfrm>
                <a:off x="2419350" y="0"/>
                <a:ext cx="6724650" cy="4485342"/>
              </a:xfrm>
              <a:prstGeom prst="rect">
                <a:avLst/>
              </a:prstGeom>
            </p:spPr>
          </p:pic>
          <p:pic>
            <p:nvPicPr>
              <p:cNvPr id="8" name="Picture 7"/>
              <p:cNvPicPr>
                <a:picLocks noChangeAspect="1"/>
              </p:cNvPicPr>
              <p:nvPr userDrawn="1"/>
            </p:nvPicPr>
            <p:blipFill rotWithShape="1">
              <a:blip r:embed="rId4" cstate="print">
                <a:extLst>
                  <a:ext uri="{28A0092B-C50C-407E-A947-70E740481C1C}">
                    <a14:useLocalDpi xmlns="" xmlns:a14="http://schemas.microsoft.com/office/drawing/2010/main" val="0"/>
                  </a:ext>
                </a:extLst>
              </a:blip>
              <a:srcRect r="75948"/>
              <a:stretch/>
            </p:blipFill>
            <p:spPr>
              <a:xfrm flipH="1">
                <a:off x="-581981" y="0"/>
                <a:ext cx="3031473" cy="4485342"/>
              </a:xfrm>
              <a:prstGeom prst="rect">
                <a:avLst/>
              </a:prstGeom>
            </p:spPr>
          </p:pic>
        </p:grpSp>
      </p:grpSp>
      <p:sp>
        <p:nvSpPr>
          <p:cNvPr id="7" name="Rectangle 7"/>
          <p:cNvSpPr/>
          <p:nvPr userDrawn="1">
            <p:custDataLst>
              <p:tags r:id="rId1"/>
            </p:custDataLst>
          </p:nvPr>
        </p:nvSpPr>
        <p:spPr bwMode="auto">
          <a:xfrm>
            <a:off x="-2047" y="4029669"/>
            <a:ext cx="9147890" cy="2833417"/>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1744042 w 12324337"/>
              <a:gd name="connsiteY7" fmla="*/ 1175529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233913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188049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188049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188049 h 2958168"/>
              <a:gd name="connsiteX8" fmla="*/ 1763257 w 12324337"/>
              <a:gd name="connsiteY8" fmla="*/ 2791 h 2958168"/>
              <a:gd name="connsiteX0" fmla="*/ 1763256 w 13203131"/>
              <a:gd name="connsiteY0" fmla="*/ 0 h 2958168"/>
              <a:gd name="connsiteX1" fmla="*/ 13202375 w 13203131"/>
              <a:gd name="connsiteY1" fmla="*/ 0 h 2958168"/>
              <a:gd name="connsiteX2" fmla="*/ 13201877 w 13203131"/>
              <a:gd name="connsiteY2" fmla="*/ 1476338 h 2958168"/>
              <a:gd name="connsiteX3" fmla="*/ 11929314 w 13203131"/>
              <a:gd name="connsiteY3" fmla="*/ 2153103 h 2958168"/>
              <a:gd name="connsiteX4" fmla="*/ 4958278 w 13203131"/>
              <a:gd name="connsiteY4" fmla="*/ 2159512 h 2958168"/>
              <a:gd name="connsiteX5" fmla="*/ 3821609 w 13203131"/>
              <a:gd name="connsiteY5" fmla="*/ 2958168 h 2958168"/>
              <a:gd name="connsiteX6" fmla="*/ 2640720 w 13203131"/>
              <a:gd name="connsiteY6" fmla="*/ 2174065 h 2958168"/>
              <a:gd name="connsiteX7" fmla="*/ 1758386 w 13203131"/>
              <a:gd name="connsiteY7" fmla="*/ 2188049 h 2958168"/>
              <a:gd name="connsiteX8" fmla="*/ 1763256 w 13203131"/>
              <a:gd name="connsiteY8" fmla="*/ 0 h 2958168"/>
              <a:gd name="connsiteX0" fmla="*/ 4870 w 11444745"/>
              <a:gd name="connsiteY0" fmla="*/ 0 h 2958168"/>
              <a:gd name="connsiteX1" fmla="*/ 11443989 w 11444745"/>
              <a:gd name="connsiteY1" fmla="*/ 0 h 2958168"/>
              <a:gd name="connsiteX2" fmla="*/ 11443491 w 11444745"/>
              <a:gd name="connsiteY2" fmla="*/ 1476338 h 2958168"/>
              <a:gd name="connsiteX3" fmla="*/ 10170928 w 11444745"/>
              <a:gd name="connsiteY3" fmla="*/ 2153103 h 2958168"/>
              <a:gd name="connsiteX4" fmla="*/ 3199892 w 11444745"/>
              <a:gd name="connsiteY4" fmla="*/ 2159512 h 2958168"/>
              <a:gd name="connsiteX5" fmla="*/ 2063223 w 11444745"/>
              <a:gd name="connsiteY5" fmla="*/ 2958168 h 2958168"/>
              <a:gd name="connsiteX6" fmla="*/ 882334 w 11444745"/>
              <a:gd name="connsiteY6" fmla="*/ 2174065 h 2958168"/>
              <a:gd name="connsiteX7" fmla="*/ 0 w 11444745"/>
              <a:gd name="connsiteY7" fmla="*/ 2188049 h 2958168"/>
              <a:gd name="connsiteX8" fmla="*/ 4870 w 11444745"/>
              <a:gd name="connsiteY8" fmla="*/ 0 h 2958168"/>
              <a:gd name="connsiteX0" fmla="*/ 4870 w 16276755"/>
              <a:gd name="connsiteY0" fmla="*/ 0 h 2958168"/>
              <a:gd name="connsiteX1" fmla="*/ 11443989 w 16276755"/>
              <a:gd name="connsiteY1" fmla="*/ 0 h 2958168"/>
              <a:gd name="connsiteX2" fmla="*/ 16275500 w 16276755"/>
              <a:gd name="connsiteY2" fmla="*/ 1268652 h 2958168"/>
              <a:gd name="connsiteX3" fmla="*/ 10170928 w 16276755"/>
              <a:gd name="connsiteY3" fmla="*/ 2153103 h 2958168"/>
              <a:gd name="connsiteX4" fmla="*/ 3199892 w 16276755"/>
              <a:gd name="connsiteY4" fmla="*/ 2159512 h 2958168"/>
              <a:gd name="connsiteX5" fmla="*/ 2063223 w 16276755"/>
              <a:gd name="connsiteY5" fmla="*/ 2958168 h 2958168"/>
              <a:gd name="connsiteX6" fmla="*/ 882334 w 16276755"/>
              <a:gd name="connsiteY6" fmla="*/ 2174065 h 2958168"/>
              <a:gd name="connsiteX7" fmla="*/ 0 w 16276755"/>
              <a:gd name="connsiteY7" fmla="*/ 2188049 h 2958168"/>
              <a:gd name="connsiteX8" fmla="*/ 4870 w 16276755"/>
              <a:gd name="connsiteY8" fmla="*/ 0 h 2958168"/>
              <a:gd name="connsiteX0" fmla="*/ 4870 w 16276755"/>
              <a:gd name="connsiteY0" fmla="*/ 0 h 2958168"/>
              <a:gd name="connsiteX1" fmla="*/ 11443989 w 16276755"/>
              <a:gd name="connsiteY1" fmla="*/ 0 h 2958168"/>
              <a:gd name="connsiteX2" fmla="*/ 16275500 w 16276755"/>
              <a:gd name="connsiteY2" fmla="*/ 1268652 h 2958168"/>
              <a:gd name="connsiteX3" fmla="*/ 15472016 w 16276755"/>
              <a:gd name="connsiteY3" fmla="*/ 2188049 h 2958168"/>
              <a:gd name="connsiteX4" fmla="*/ 3199892 w 16276755"/>
              <a:gd name="connsiteY4" fmla="*/ 2159512 h 2958168"/>
              <a:gd name="connsiteX5" fmla="*/ 2063223 w 16276755"/>
              <a:gd name="connsiteY5" fmla="*/ 2958168 h 2958168"/>
              <a:gd name="connsiteX6" fmla="*/ 882334 w 16276755"/>
              <a:gd name="connsiteY6" fmla="*/ 2174065 h 2958168"/>
              <a:gd name="connsiteX7" fmla="*/ 0 w 16276755"/>
              <a:gd name="connsiteY7" fmla="*/ 2188049 h 2958168"/>
              <a:gd name="connsiteX8" fmla="*/ 4870 w 16276755"/>
              <a:gd name="connsiteY8" fmla="*/ 0 h 2958168"/>
              <a:gd name="connsiteX0" fmla="*/ 4870 w 16278010"/>
              <a:gd name="connsiteY0" fmla="*/ 0 h 2958168"/>
              <a:gd name="connsiteX1" fmla="*/ 11443989 w 16278010"/>
              <a:gd name="connsiteY1" fmla="*/ 0 h 2958168"/>
              <a:gd name="connsiteX2" fmla="*/ 16276755 w 16278010"/>
              <a:gd name="connsiteY2" fmla="*/ 1717995 h 2958168"/>
              <a:gd name="connsiteX3" fmla="*/ 15472016 w 16278010"/>
              <a:gd name="connsiteY3" fmla="*/ 2188049 h 2958168"/>
              <a:gd name="connsiteX4" fmla="*/ 3199892 w 16278010"/>
              <a:gd name="connsiteY4" fmla="*/ 2159512 h 2958168"/>
              <a:gd name="connsiteX5" fmla="*/ 2063223 w 16278010"/>
              <a:gd name="connsiteY5" fmla="*/ 2958168 h 2958168"/>
              <a:gd name="connsiteX6" fmla="*/ 882334 w 16278010"/>
              <a:gd name="connsiteY6" fmla="*/ 2174065 h 2958168"/>
              <a:gd name="connsiteX7" fmla="*/ 0 w 16278010"/>
              <a:gd name="connsiteY7" fmla="*/ 2188049 h 2958168"/>
              <a:gd name="connsiteX8" fmla="*/ 4870 w 16278010"/>
              <a:gd name="connsiteY8" fmla="*/ 0 h 2958168"/>
              <a:gd name="connsiteX0" fmla="*/ 4870 w 16278010"/>
              <a:gd name="connsiteY0" fmla="*/ 0 h 2958168"/>
              <a:gd name="connsiteX1" fmla="*/ 11443989 w 16278010"/>
              <a:gd name="connsiteY1" fmla="*/ 0 h 2958168"/>
              <a:gd name="connsiteX2" fmla="*/ 16276755 w 16278010"/>
              <a:gd name="connsiteY2" fmla="*/ 1717995 h 2958168"/>
              <a:gd name="connsiteX3" fmla="*/ 15472016 w 16278010"/>
              <a:gd name="connsiteY3" fmla="*/ 2188049 h 2958168"/>
              <a:gd name="connsiteX4" fmla="*/ 3199892 w 16278010"/>
              <a:gd name="connsiteY4" fmla="*/ 2159512 h 2958168"/>
              <a:gd name="connsiteX5" fmla="*/ 2063223 w 16278010"/>
              <a:gd name="connsiteY5" fmla="*/ 2958168 h 2958168"/>
              <a:gd name="connsiteX6" fmla="*/ 882334 w 16278010"/>
              <a:gd name="connsiteY6" fmla="*/ 2174065 h 2958168"/>
              <a:gd name="connsiteX7" fmla="*/ 0 w 16278010"/>
              <a:gd name="connsiteY7" fmla="*/ 2188049 h 2958168"/>
              <a:gd name="connsiteX8" fmla="*/ 4870 w 16278010"/>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1 w 16273653"/>
              <a:gd name="connsiteY0" fmla="*/ 0 h 2958168"/>
              <a:gd name="connsiteX1" fmla="*/ 16273141 w 16273653"/>
              <a:gd name="connsiteY1" fmla="*/ 0 h 2958168"/>
              <a:gd name="connsiteX2" fmla="*/ 16271886 w 16273653"/>
              <a:gd name="connsiteY2" fmla="*/ 1717995 h 2958168"/>
              <a:gd name="connsiteX3" fmla="*/ 15467147 w 16273653"/>
              <a:gd name="connsiteY3" fmla="*/ 2188049 h 2958168"/>
              <a:gd name="connsiteX4" fmla="*/ 3195023 w 16273653"/>
              <a:gd name="connsiteY4" fmla="*/ 2159512 h 2958168"/>
              <a:gd name="connsiteX5" fmla="*/ 2058354 w 16273653"/>
              <a:gd name="connsiteY5" fmla="*/ 2958168 h 2958168"/>
              <a:gd name="connsiteX6" fmla="*/ 877465 w 16273653"/>
              <a:gd name="connsiteY6" fmla="*/ 2174065 h 2958168"/>
              <a:gd name="connsiteX7" fmla="*/ 2 w 16273653"/>
              <a:gd name="connsiteY7" fmla="*/ 2188049 h 2958168"/>
              <a:gd name="connsiteX8" fmla="*/ 1 w 16273653"/>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76364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76364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76364 h 2958168"/>
              <a:gd name="connsiteX8" fmla="*/ 4872 w 16278524"/>
              <a:gd name="connsiteY8" fmla="*/ 0 h 2958168"/>
              <a:gd name="connsiteX0" fmla="*/ 1 w 16273653"/>
              <a:gd name="connsiteY0" fmla="*/ 0 h 2958168"/>
              <a:gd name="connsiteX1" fmla="*/ 16273141 w 16273653"/>
              <a:gd name="connsiteY1" fmla="*/ 0 h 2958168"/>
              <a:gd name="connsiteX2" fmla="*/ 16271886 w 16273653"/>
              <a:gd name="connsiteY2" fmla="*/ 1717995 h 2958168"/>
              <a:gd name="connsiteX3" fmla="*/ 15467147 w 16273653"/>
              <a:gd name="connsiteY3" fmla="*/ 2188049 h 2958168"/>
              <a:gd name="connsiteX4" fmla="*/ 3195023 w 16273653"/>
              <a:gd name="connsiteY4" fmla="*/ 2159512 h 2958168"/>
              <a:gd name="connsiteX5" fmla="*/ 2058354 w 16273653"/>
              <a:gd name="connsiteY5" fmla="*/ 2958168 h 2958168"/>
              <a:gd name="connsiteX6" fmla="*/ 877465 w 16273653"/>
              <a:gd name="connsiteY6" fmla="*/ 2174065 h 2958168"/>
              <a:gd name="connsiteX7" fmla="*/ 2 w 16273653"/>
              <a:gd name="connsiteY7" fmla="*/ 2195845 h 2958168"/>
              <a:gd name="connsiteX8" fmla="*/ 1 w 16273653"/>
              <a:gd name="connsiteY8" fmla="*/ 0 h 2958168"/>
              <a:gd name="connsiteX0" fmla="*/ 1 w 21695427"/>
              <a:gd name="connsiteY0" fmla="*/ 0 h 2958168"/>
              <a:gd name="connsiteX1" fmla="*/ 16273141 w 21695427"/>
              <a:gd name="connsiteY1" fmla="*/ 0 h 2958168"/>
              <a:gd name="connsiteX2" fmla="*/ 21694172 w 21695427"/>
              <a:gd name="connsiteY2" fmla="*/ 1820764 h 2958168"/>
              <a:gd name="connsiteX3" fmla="*/ 15467147 w 21695427"/>
              <a:gd name="connsiteY3" fmla="*/ 2188049 h 2958168"/>
              <a:gd name="connsiteX4" fmla="*/ 3195023 w 21695427"/>
              <a:gd name="connsiteY4" fmla="*/ 2159512 h 2958168"/>
              <a:gd name="connsiteX5" fmla="*/ 2058354 w 21695427"/>
              <a:gd name="connsiteY5" fmla="*/ 2958168 h 2958168"/>
              <a:gd name="connsiteX6" fmla="*/ 877465 w 21695427"/>
              <a:gd name="connsiteY6" fmla="*/ 2174065 h 2958168"/>
              <a:gd name="connsiteX7" fmla="*/ 2 w 21695427"/>
              <a:gd name="connsiteY7" fmla="*/ 2195845 h 2958168"/>
              <a:gd name="connsiteX8" fmla="*/ 1 w 21695427"/>
              <a:gd name="connsiteY8" fmla="*/ 0 h 2958168"/>
              <a:gd name="connsiteX0" fmla="*/ 1 w 21695427"/>
              <a:gd name="connsiteY0" fmla="*/ 0 h 2958168"/>
              <a:gd name="connsiteX1" fmla="*/ 21694172 w 21695427"/>
              <a:gd name="connsiteY1" fmla="*/ 0 h 2958168"/>
              <a:gd name="connsiteX2" fmla="*/ 21694172 w 21695427"/>
              <a:gd name="connsiteY2" fmla="*/ 1820764 h 2958168"/>
              <a:gd name="connsiteX3" fmla="*/ 15467147 w 21695427"/>
              <a:gd name="connsiteY3" fmla="*/ 2188049 h 2958168"/>
              <a:gd name="connsiteX4" fmla="*/ 3195023 w 21695427"/>
              <a:gd name="connsiteY4" fmla="*/ 2159512 h 2958168"/>
              <a:gd name="connsiteX5" fmla="*/ 2058354 w 21695427"/>
              <a:gd name="connsiteY5" fmla="*/ 2958168 h 2958168"/>
              <a:gd name="connsiteX6" fmla="*/ 877465 w 21695427"/>
              <a:gd name="connsiteY6" fmla="*/ 2174065 h 2958168"/>
              <a:gd name="connsiteX7" fmla="*/ 2 w 21695427"/>
              <a:gd name="connsiteY7" fmla="*/ 2195845 h 2958168"/>
              <a:gd name="connsiteX8" fmla="*/ 1 w 21695427"/>
              <a:gd name="connsiteY8" fmla="*/ 0 h 2958168"/>
              <a:gd name="connsiteX0" fmla="*/ 1 w 21695939"/>
              <a:gd name="connsiteY0" fmla="*/ 0 h 2958168"/>
              <a:gd name="connsiteX1" fmla="*/ 21695427 w 21695939"/>
              <a:gd name="connsiteY1" fmla="*/ 0 h 2958168"/>
              <a:gd name="connsiteX2" fmla="*/ 21694172 w 21695939"/>
              <a:gd name="connsiteY2" fmla="*/ 1820764 h 2958168"/>
              <a:gd name="connsiteX3" fmla="*/ 15467147 w 21695939"/>
              <a:gd name="connsiteY3" fmla="*/ 2188049 h 2958168"/>
              <a:gd name="connsiteX4" fmla="*/ 3195023 w 21695939"/>
              <a:gd name="connsiteY4" fmla="*/ 2159512 h 2958168"/>
              <a:gd name="connsiteX5" fmla="*/ 2058354 w 21695939"/>
              <a:gd name="connsiteY5" fmla="*/ 2958168 h 2958168"/>
              <a:gd name="connsiteX6" fmla="*/ 877465 w 21695939"/>
              <a:gd name="connsiteY6" fmla="*/ 2174065 h 2958168"/>
              <a:gd name="connsiteX7" fmla="*/ 2 w 21695939"/>
              <a:gd name="connsiteY7" fmla="*/ 2195845 h 2958168"/>
              <a:gd name="connsiteX8" fmla="*/ 1 w 21695939"/>
              <a:gd name="connsiteY8" fmla="*/ 0 h 2958168"/>
              <a:gd name="connsiteX0" fmla="*/ 1 w 21695939"/>
              <a:gd name="connsiteY0" fmla="*/ 0 h 2958168"/>
              <a:gd name="connsiteX1" fmla="*/ 21695427 w 21695939"/>
              <a:gd name="connsiteY1" fmla="*/ 0 h 2958168"/>
              <a:gd name="connsiteX2" fmla="*/ 21694172 w 21695939"/>
              <a:gd name="connsiteY2" fmla="*/ 1820764 h 2958168"/>
              <a:gd name="connsiteX3" fmla="*/ 20899883 w 21695939"/>
              <a:gd name="connsiteY3" fmla="*/ 2195845 h 2958168"/>
              <a:gd name="connsiteX4" fmla="*/ 3195023 w 21695939"/>
              <a:gd name="connsiteY4" fmla="*/ 2159512 h 2958168"/>
              <a:gd name="connsiteX5" fmla="*/ 2058354 w 21695939"/>
              <a:gd name="connsiteY5" fmla="*/ 2958168 h 2958168"/>
              <a:gd name="connsiteX6" fmla="*/ 877465 w 21695939"/>
              <a:gd name="connsiteY6" fmla="*/ 2174065 h 2958168"/>
              <a:gd name="connsiteX7" fmla="*/ 2 w 21695939"/>
              <a:gd name="connsiteY7" fmla="*/ 2195845 h 2958168"/>
              <a:gd name="connsiteX8" fmla="*/ 1 w 21695939"/>
              <a:gd name="connsiteY8" fmla="*/ 0 h 2958168"/>
              <a:gd name="connsiteX0" fmla="*/ 2 w 21700437"/>
              <a:gd name="connsiteY0" fmla="*/ 0 h 4325468"/>
              <a:gd name="connsiteX1" fmla="*/ 21699925 w 21700437"/>
              <a:gd name="connsiteY1" fmla="*/ 1367300 h 4325468"/>
              <a:gd name="connsiteX2" fmla="*/ 21698670 w 21700437"/>
              <a:gd name="connsiteY2" fmla="*/ 3188064 h 4325468"/>
              <a:gd name="connsiteX3" fmla="*/ 20904381 w 21700437"/>
              <a:gd name="connsiteY3" fmla="*/ 3563145 h 4325468"/>
              <a:gd name="connsiteX4" fmla="*/ 3199521 w 21700437"/>
              <a:gd name="connsiteY4" fmla="*/ 3526812 h 4325468"/>
              <a:gd name="connsiteX5" fmla="*/ 2062852 w 21700437"/>
              <a:gd name="connsiteY5" fmla="*/ 4325468 h 4325468"/>
              <a:gd name="connsiteX6" fmla="*/ 881963 w 21700437"/>
              <a:gd name="connsiteY6" fmla="*/ 3541365 h 4325468"/>
              <a:gd name="connsiteX7" fmla="*/ 4500 w 21700437"/>
              <a:gd name="connsiteY7" fmla="*/ 3563145 h 4325468"/>
              <a:gd name="connsiteX8" fmla="*/ 2 w 21700437"/>
              <a:gd name="connsiteY8" fmla="*/ 0 h 4325468"/>
              <a:gd name="connsiteX0" fmla="*/ 2 w 21699925"/>
              <a:gd name="connsiteY0" fmla="*/ 0 h 4325468"/>
              <a:gd name="connsiteX1" fmla="*/ 21698669 w 21699925"/>
              <a:gd name="connsiteY1" fmla="*/ 0 h 4325468"/>
              <a:gd name="connsiteX2" fmla="*/ 21698670 w 21699925"/>
              <a:gd name="connsiteY2" fmla="*/ 3188064 h 4325468"/>
              <a:gd name="connsiteX3" fmla="*/ 20904381 w 21699925"/>
              <a:gd name="connsiteY3" fmla="*/ 3563145 h 4325468"/>
              <a:gd name="connsiteX4" fmla="*/ 3199521 w 21699925"/>
              <a:gd name="connsiteY4" fmla="*/ 3526812 h 4325468"/>
              <a:gd name="connsiteX5" fmla="*/ 2062852 w 21699925"/>
              <a:gd name="connsiteY5" fmla="*/ 4325468 h 4325468"/>
              <a:gd name="connsiteX6" fmla="*/ 881963 w 21699925"/>
              <a:gd name="connsiteY6" fmla="*/ 3541365 h 4325468"/>
              <a:gd name="connsiteX7" fmla="*/ 4500 w 21699925"/>
              <a:gd name="connsiteY7" fmla="*/ 3563145 h 4325468"/>
              <a:gd name="connsiteX8" fmla="*/ 2 w 21699925"/>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1918176 w 22713720"/>
              <a:gd name="connsiteY3" fmla="*/ 3563145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1018295 w 22713720"/>
              <a:gd name="connsiteY7" fmla="*/ 3563145 h 4325468"/>
              <a:gd name="connsiteX8" fmla="*/ 3 w 22713720"/>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1918176 w 22713720"/>
              <a:gd name="connsiteY3" fmla="*/ 3563145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0 w 22713720"/>
              <a:gd name="connsiteY7" fmla="*/ 3529270 h 4325468"/>
              <a:gd name="connsiteX8" fmla="*/ 3 w 22713720"/>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1918176 w 22713720"/>
              <a:gd name="connsiteY3" fmla="*/ 3563145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2 w 22713720"/>
              <a:gd name="connsiteY7" fmla="*/ 3551158 h 4325468"/>
              <a:gd name="connsiteX8" fmla="*/ 3 w 22713720"/>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0899886 w 22713720"/>
              <a:gd name="connsiteY3" fmla="*/ 3551158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2 w 22713720"/>
              <a:gd name="connsiteY7" fmla="*/ 3551158 h 4325468"/>
              <a:gd name="connsiteX8" fmla="*/ 3 w 22713720"/>
              <a:gd name="connsiteY8" fmla="*/ 0 h 4325468"/>
              <a:gd name="connsiteX0" fmla="*/ 3 w 22712977"/>
              <a:gd name="connsiteY0" fmla="*/ 0 h 4325468"/>
              <a:gd name="connsiteX1" fmla="*/ 22712464 w 22712977"/>
              <a:gd name="connsiteY1" fmla="*/ 0 h 4325468"/>
              <a:gd name="connsiteX2" fmla="*/ 21694177 w 22712977"/>
              <a:gd name="connsiteY2" fmla="*/ 3166173 h 4325468"/>
              <a:gd name="connsiteX3" fmla="*/ 20899886 w 22712977"/>
              <a:gd name="connsiteY3" fmla="*/ 3551158 h 4325468"/>
              <a:gd name="connsiteX4" fmla="*/ 4213316 w 22712977"/>
              <a:gd name="connsiteY4" fmla="*/ 3526812 h 4325468"/>
              <a:gd name="connsiteX5" fmla="*/ 3076647 w 22712977"/>
              <a:gd name="connsiteY5" fmla="*/ 4325468 h 4325468"/>
              <a:gd name="connsiteX6" fmla="*/ 1895758 w 22712977"/>
              <a:gd name="connsiteY6" fmla="*/ 3541365 h 4325468"/>
              <a:gd name="connsiteX7" fmla="*/ 2 w 22712977"/>
              <a:gd name="connsiteY7" fmla="*/ 3551158 h 4325468"/>
              <a:gd name="connsiteX8" fmla="*/ 3 w 22712977"/>
              <a:gd name="connsiteY8" fmla="*/ 0 h 4325468"/>
              <a:gd name="connsiteX0" fmla="*/ 3 w 21695432"/>
              <a:gd name="connsiteY0" fmla="*/ 0 h 4325468"/>
              <a:gd name="connsiteX1" fmla="*/ 21153955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895758 w 21695432"/>
              <a:gd name="connsiteY6" fmla="*/ 3541365 h 4325468"/>
              <a:gd name="connsiteX7" fmla="*/ 2 w 21695432"/>
              <a:gd name="connsiteY7" fmla="*/ 3551158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895758 w 21695432"/>
              <a:gd name="connsiteY6" fmla="*/ 3541365 h 4325468"/>
              <a:gd name="connsiteX7" fmla="*/ 2 w 21695432"/>
              <a:gd name="connsiteY7" fmla="*/ 3551158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895758 w 21695432"/>
              <a:gd name="connsiteY6" fmla="*/ 3541365 h 4325468"/>
              <a:gd name="connsiteX7" fmla="*/ 5 w 21695432"/>
              <a:gd name="connsiteY7" fmla="*/ 3526990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902293 w 21695432"/>
              <a:gd name="connsiteY6" fmla="*/ 3526990 h 4325468"/>
              <a:gd name="connsiteX7" fmla="*/ 5 w 21695432"/>
              <a:gd name="connsiteY7" fmla="*/ 3526990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9849 w 21695432"/>
              <a:gd name="connsiteY4" fmla="*/ 3526990 h 4325468"/>
              <a:gd name="connsiteX5" fmla="*/ 3076647 w 21695432"/>
              <a:gd name="connsiteY5" fmla="*/ 4325468 h 4325468"/>
              <a:gd name="connsiteX6" fmla="*/ 1902293 w 21695432"/>
              <a:gd name="connsiteY6" fmla="*/ 3526990 h 4325468"/>
              <a:gd name="connsiteX7" fmla="*/ 5 w 21695432"/>
              <a:gd name="connsiteY7" fmla="*/ 3526990 h 4325468"/>
              <a:gd name="connsiteX8" fmla="*/ 3 w 21695432"/>
              <a:gd name="connsiteY8" fmla="*/ 0 h 4325468"/>
              <a:gd name="connsiteX0" fmla="*/ 0 w 21725855"/>
              <a:gd name="connsiteY0" fmla="*/ 10139197 h 10229976"/>
              <a:gd name="connsiteX1" fmla="*/ 21725167 w 21725855"/>
              <a:gd name="connsiteY1" fmla="*/ 3 h 10229976"/>
              <a:gd name="connsiteX2" fmla="*/ 21725167 w 21725855"/>
              <a:gd name="connsiteY2" fmla="*/ 3144285 h 10229976"/>
              <a:gd name="connsiteX3" fmla="*/ 20930876 w 21725855"/>
              <a:gd name="connsiteY3" fmla="*/ 3529270 h 10229976"/>
              <a:gd name="connsiteX4" fmla="*/ 4250839 w 21725855"/>
              <a:gd name="connsiteY4" fmla="*/ 3505102 h 10229976"/>
              <a:gd name="connsiteX5" fmla="*/ 3107637 w 21725855"/>
              <a:gd name="connsiteY5" fmla="*/ 4303580 h 10229976"/>
              <a:gd name="connsiteX6" fmla="*/ 1933283 w 21725855"/>
              <a:gd name="connsiteY6" fmla="*/ 3505102 h 10229976"/>
              <a:gd name="connsiteX7" fmla="*/ 30995 w 21725855"/>
              <a:gd name="connsiteY7" fmla="*/ 3505102 h 10229976"/>
              <a:gd name="connsiteX8" fmla="*/ 0 w 21725855"/>
              <a:gd name="connsiteY8" fmla="*/ 10139197 h 10229976"/>
              <a:gd name="connsiteX0" fmla="*/ 0 w 21725203"/>
              <a:gd name="connsiteY0" fmla="*/ 6995113 h 7085892"/>
              <a:gd name="connsiteX1" fmla="*/ 21694175 w 21725203"/>
              <a:gd name="connsiteY1" fmla="*/ 6952895 h 7085892"/>
              <a:gd name="connsiteX2" fmla="*/ 21725167 w 21725203"/>
              <a:gd name="connsiteY2" fmla="*/ 201 h 7085892"/>
              <a:gd name="connsiteX3" fmla="*/ 20930876 w 21725203"/>
              <a:gd name="connsiteY3" fmla="*/ 385186 h 7085892"/>
              <a:gd name="connsiteX4" fmla="*/ 4250839 w 21725203"/>
              <a:gd name="connsiteY4" fmla="*/ 361018 h 7085892"/>
              <a:gd name="connsiteX5" fmla="*/ 3107637 w 21725203"/>
              <a:gd name="connsiteY5" fmla="*/ 1159496 h 7085892"/>
              <a:gd name="connsiteX6" fmla="*/ 1933283 w 21725203"/>
              <a:gd name="connsiteY6" fmla="*/ 361018 h 7085892"/>
              <a:gd name="connsiteX7" fmla="*/ 30995 w 21725203"/>
              <a:gd name="connsiteY7" fmla="*/ 361018 h 7085892"/>
              <a:gd name="connsiteX8" fmla="*/ 0 w 21725203"/>
              <a:gd name="connsiteY8" fmla="*/ 6995113 h 7085892"/>
              <a:gd name="connsiteX0" fmla="*/ 0 w 21725203"/>
              <a:gd name="connsiteY0" fmla="*/ 6995113 h 7085892"/>
              <a:gd name="connsiteX1" fmla="*/ 21694175 w 21725203"/>
              <a:gd name="connsiteY1" fmla="*/ 6888786 h 7085892"/>
              <a:gd name="connsiteX2" fmla="*/ 21725167 w 21725203"/>
              <a:gd name="connsiteY2" fmla="*/ 201 h 7085892"/>
              <a:gd name="connsiteX3" fmla="*/ 20930876 w 21725203"/>
              <a:gd name="connsiteY3" fmla="*/ 385186 h 7085892"/>
              <a:gd name="connsiteX4" fmla="*/ 4250839 w 21725203"/>
              <a:gd name="connsiteY4" fmla="*/ 361018 h 7085892"/>
              <a:gd name="connsiteX5" fmla="*/ 3107637 w 21725203"/>
              <a:gd name="connsiteY5" fmla="*/ 1159496 h 7085892"/>
              <a:gd name="connsiteX6" fmla="*/ 1933283 w 21725203"/>
              <a:gd name="connsiteY6" fmla="*/ 361018 h 7085892"/>
              <a:gd name="connsiteX7" fmla="*/ 30995 w 21725203"/>
              <a:gd name="connsiteY7" fmla="*/ 361018 h 7085892"/>
              <a:gd name="connsiteX8" fmla="*/ 0 w 21725203"/>
              <a:gd name="connsiteY8" fmla="*/ 6995113 h 7085892"/>
              <a:gd name="connsiteX0" fmla="*/ 0 w 21725203"/>
              <a:gd name="connsiteY0" fmla="*/ 6995113 h 7085892"/>
              <a:gd name="connsiteX1" fmla="*/ 21694175 w 21725203"/>
              <a:gd name="connsiteY1" fmla="*/ 6920841 h 7085892"/>
              <a:gd name="connsiteX2" fmla="*/ 21725167 w 21725203"/>
              <a:gd name="connsiteY2" fmla="*/ 201 h 7085892"/>
              <a:gd name="connsiteX3" fmla="*/ 20930876 w 21725203"/>
              <a:gd name="connsiteY3" fmla="*/ 385186 h 7085892"/>
              <a:gd name="connsiteX4" fmla="*/ 4250839 w 21725203"/>
              <a:gd name="connsiteY4" fmla="*/ 361018 h 7085892"/>
              <a:gd name="connsiteX5" fmla="*/ 3107637 w 21725203"/>
              <a:gd name="connsiteY5" fmla="*/ 1159496 h 7085892"/>
              <a:gd name="connsiteX6" fmla="*/ 1933283 w 21725203"/>
              <a:gd name="connsiteY6" fmla="*/ 361018 h 7085892"/>
              <a:gd name="connsiteX7" fmla="*/ 30995 w 21725203"/>
              <a:gd name="connsiteY7" fmla="*/ 361018 h 7085892"/>
              <a:gd name="connsiteX8" fmla="*/ 0 w 21725203"/>
              <a:gd name="connsiteY8" fmla="*/ 6995113 h 7085892"/>
              <a:gd name="connsiteX0" fmla="*/ 0 w 21756164"/>
              <a:gd name="connsiteY0" fmla="*/ 6995113 h 7085892"/>
              <a:gd name="connsiteX1" fmla="*/ 21756159 w 21756164"/>
              <a:gd name="connsiteY1" fmla="*/ 6952895 h 7085892"/>
              <a:gd name="connsiteX2" fmla="*/ 21725167 w 21756164"/>
              <a:gd name="connsiteY2" fmla="*/ 201 h 7085892"/>
              <a:gd name="connsiteX3" fmla="*/ 20930876 w 21756164"/>
              <a:gd name="connsiteY3" fmla="*/ 385186 h 7085892"/>
              <a:gd name="connsiteX4" fmla="*/ 4250839 w 21756164"/>
              <a:gd name="connsiteY4" fmla="*/ 361018 h 7085892"/>
              <a:gd name="connsiteX5" fmla="*/ 3107637 w 21756164"/>
              <a:gd name="connsiteY5" fmla="*/ 1159496 h 7085892"/>
              <a:gd name="connsiteX6" fmla="*/ 1933283 w 21756164"/>
              <a:gd name="connsiteY6" fmla="*/ 361018 h 7085892"/>
              <a:gd name="connsiteX7" fmla="*/ 30995 w 21756164"/>
              <a:gd name="connsiteY7" fmla="*/ 361018 h 7085892"/>
              <a:gd name="connsiteX8" fmla="*/ 0 w 21756164"/>
              <a:gd name="connsiteY8" fmla="*/ 6995113 h 7085892"/>
              <a:gd name="connsiteX0" fmla="*/ 0 w 21756164"/>
              <a:gd name="connsiteY0" fmla="*/ 6995113 h 7086228"/>
              <a:gd name="connsiteX1" fmla="*/ 21756159 w 21756164"/>
              <a:gd name="connsiteY1" fmla="*/ 6952895 h 7086228"/>
              <a:gd name="connsiteX2" fmla="*/ 21725167 w 21756164"/>
              <a:gd name="connsiteY2" fmla="*/ 201 h 7086228"/>
              <a:gd name="connsiteX3" fmla="*/ 20930876 w 21756164"/>
              <a:gd name="connsiteY3" fmla="*/ 385186 h 7086228"/>
              <a:gd name="connsiteX4" fmla="*/ 4250839 w 21756164"/>
              <a:gd name="connsiteY4" fmla="*/ 361018 h 7086228"/>
              <a:gd name="connsiteX5" fmla="*/ 3107637 w 21756164"/>
              <a:gd name="connsiteY5" fmla="*/ 1159496 h 7086228"/>
              <a:gd name="connsiteX6" fmla="*/ 1933283 w 21756164"/>
              <a:gd name="connsiteY6" fmla="*/ 361018 h 7086228"/>
              <a:gd name="connsiteX7" fmla="*/ 2 w 21756164"/>
              <a:gd name="connsiteY7" fmla="*/ 393072 h 7086228"/>
              <a:gd name="connsiteX8" fmla="*/ 0 w 21756164"/>
              <a:gd name="connsiteY8" fmla="*/ 6995113 h 7086228"/>
              <a:gd name="connsiteX0" fmla="*/ 0 w 21756164"/>
              <a:gd name="connsiteY0" fmla="*/ 6995113 h 7086157"/>
              <a:gd name="connsiteX1" fmla="*/ 21756159 w 21756164"/>
              <a:gd name="connsiteY1" fmla="*/ 6952895 h 7086157"/>
              <a:gd name="connsiteX2" fmla="*/ 21725167 w 21756164"/>
              <a:gd name="connsiteY2" fmla="*/ 201 h 7086157"/>
              <a:gd name="connsiteX3" fmla="*/ 20930876 w 21756164"/>
              <a:gd name="connsiteY3" fmla="*/ 385186 h 7086157"/>
              <a:gd name="connsiteX4" fmla="*/ 4250839 w 21756164"/>
              <a:gd name="connsiteY4" fmla="*/ 361018 h 7086157"/>
              <a:gd name="connsiteX5" fmla="*/ 3107637 w 21756164"/>
              <a:gd name="connsiteY5" fmla="*/ 1159496 h 7086157"/>
              <a:gd name="connsiteX6" fmla="*/ 1933283 w 21756164"/>
              <a:gd name="connsiteY6" fmla="*/ 361018 h 7086157"/>
              <a:gd name="connsiteX7" fmla="*/ 26140 w 21756164"/>
              <a:gd name="connsiteY7" fmla="*/ 386312 h 7086157"/>
              <a:gd name="connsiteX8" fmla="*/ 0 w 21756164"/>
              <a:gd name="connsiteY8" fmla="*/ 6995113 h 7086157"/>
              <a:gd name="connsiteX0" fmla="*/ 0 w 21756164"/>
              <a:gd name="connsiteY0" fmla="*/ 6995113 h 7085875"/>
              <a:gd name="connsiteX1" fmla="*/ 21756159 w 21756164"/>
              <a:gd name="connsiteY1" fmla="*/ 6952895 h 7085875"/>
              <a:gd name="connsiteX2" fmla="*/ 21725167 w 21756164"/>
              <a:gd name="connsiteY2" fmla="*/ 201 h 7085875"/>
              <a:gd name="connsiteX3" fmla="*/ 20930876 w 21756164"/>
              <a:gd name="connsiteY3" fmla="*/ 385186 h 7085875"/>
              <a:gd name="connsiteX4" fmla="*/ 4250839 w 21756164"/>
              <a:gd name="connsiteY4" fmla="*/ 361018 h 7085875"/>
              <a:gd name="connsiteX5" fmla="*/ 3107637 w 21756164"/>
              <a:gd name="connsiteY5" fmla="*/ 1159496 h 7085875"/>
              <a:gd name="connsiteX6" fmla="*/ 1933283 w 21756164"/>
              <a:gd name="connsiteY6" fmla="*/ 361018 h 7085875"/>
              <a:gd name="connsiteX7" fmla="*/ 26140 w 21756164"/>
              <a:gd name="connsiteY7" fmla="*/ 359281 h 7085875"/>
              <a:gd name="connsiteX8" fmla="*/ 0 w 21756164"/>
              <a:gd name="connsiteY8" fmla="*/ 6995113 h 7085875"/>
              <a:gd name="connsiteX0" fmla="*/ 472961 w 21730024"/>
              <a:gd name="connsiteY0" fmla="*/ 6272426 h 6953376"/>
              <a:gd name="connsiteX1" fmla="*/ 21730019 w 21730024"/>
              <a:gd name="connsiteY1" fmla="*/ 6952895 h 6953376"/>
              <a:gd name="connsiteX2" fmla="*/ 21699027 w 21730024"/>
              <a:gd name="connsiteY2" fmla="*/ 201 h 6953376"/>
              <a:gd name="connsiteX3" fmla="*/ 20904736 w 21730024"/>
              <a:gd name="connsiteY3" fmla="*/ 385186 h 6953376"/>
              <a:gd name="connsiteX4" fmla="*/ 4224699 w 21730024"/>
              <a:gd name="connsiteY4" fmla="*/ 361018 h 6953376"/>
              <a:gd name="connsiteX5" fmla="*/ 3081497 w 21730024"/>
              <a:gd name="connsiteY5" fmla="*/ 1159496 h 6953376"/>
              <a:gd name="connsiteX6" fmla="*/ 1907143 w 21730024"/>
              <a:gd name="connsiteY6" fmla="*/ 361018 h 6953376"/>
              <a:gd name="connsiteX7" fmla="*/ 0 w 21730024"/>
              <a:gd name="connsiteY7" fmla="*/ 359281 h 6953376"/>
              <a:gd name="connsiteX8" fmla="*/ 472961 w 21730024"/>
              <a:gd name="connsiteY8" fmla="*/ 6272426 h 6953376"/>
              <a:gd name="connsiteX0" fmla="*/ 479 w 21730024"/>
              <a:gd name="connsiteY0" fmla="*/ 6946935 h 7038202"/>
              <a:gd name="connsiteX1" fmla="*/ 21730019 w 21730024"/>
              <a:gd name="connsiteY1" fmla="*/ 6952895 h 7038202"/>
              <a:gd name="connsiteX2" fmla="*/ 21699027 w 21730024"/>
              <a:gd name="connsiteY2" fmla="*/ 201 h 7038202"/>
              <a:gd name="connsiteX3" fmla="*/ 20904736 w 21730024"/>
              <a:gd name="connsiteY3" fmla="*/ 385186 h 7038202"/>
              <a:gd name="connsiteX4" fmla="*/ 4224699 w 21730024"/>
              <a:gd name="connsiteY4" fmla="*/ 361018 h 7038202"/>
              <a:gd name="connsiteX5" fmla="*/ 3081497 w 21730024"/>
              <a:gd name="connsiteY5" fmla="*/ 1159496 h 7038202"/>
              <a:gd name="connsiteX6" fmla="*/ 1907143 w 21730024"/>
              <a:gd name="connsiteY6" fmla="*/ 361018 h 7038202"/>
              <a:gd name="connsiteX7" fmla="*/ 0 w 21730024"/>
              <a:gd name="connsiteY7" fmla="*/ 359281 h 7038202"/>
              <a:gd name="connsiteX8" fmla="*/ 479 w 21730024"/>
              <a:gd name="connsiteY8" fmla="*/ 6946935 h 7038202"/>
              <a:gd name="connsiteX0" fmla="*/ 85846 w 21815391"/>
              <a:gd name="connsiteY0" fmla="*/ 6946935 h 6953376"/>
              <a:gd name="connsiteX1" fmla="*/ 21815386 w 21815391"/>
              <a:gd name="connsiteY1" fmla="*/ 6952895 h 6953376"/>
              <a:gd name="connsiteX2" fmla="*/ 21784394 w 21815391"/>
              <a:gd name="connsiteY2" fmla="*/ 201 h 6953376"/>
              <a:gd name="connsiteX3" fmla="*/ 20990103 w 21815391"/>
              <a:gd name="connsiteY3" fmla="*/ 385186 h 6953376"/>
              <a:gd name="connsiteX4" fmla="*/ 4310066 w 21815391"/>
              <a:gd name="connsiteY4" fmla="*/ 361018 h 6953376"/>
              <a:gd name="connsiteX5" fmla="*/ 3166864 w 21815391"/>
              <a:gd name="connsiteY5" fmla="*/ 1159496 h 6953376"/>
              <a:gd name="connsiteX6" fmla="*/ 1992510 w 21815391"/>
              <a:gd name="connsiteY6" fmla="*/ 361018 h 6953376"/>
              <a:gd name="connsiteX7" fmla="*/ 85367 w 21815391"/>
              <a:gd name="connsiteY7" fmla="*/ 359281 h 6953376"/>
              <a:gd name="connsiteX8" fmla="*/ 85846 w 21815391"/>
              <a:gd name="connsiteY8" fmla="*/ 6946935 h 6953376"/>
              <a:gd name="connsiteX0" fmla="*/ 479 w 21730024"/>
              <a:gd name="connsiteY0" fmla="*/ 6946935 h 6953376"/>
              <a:gd name="connsiteX1" fmla="*/ 21730019 w 21730024"/>
              <a:gd name="connsiteY1" fmla="*/ 6952895 h 6953376"/>
              <a:gd name="connsiteX2" fmla="*/ 21699027 w 21730024"/>
              <a:gd name="connsiteY2" fmla="*/ 201 h 6953376"/>
              <a:gd name="connsiteX3" fmla="*/ 20904736 w 21730024"/>
              <a:gd name="connsiteY3" fmla="*/ 385186 h 6953376"/>
              <a:gd name="connsiteX4" fmla="*/ 4224699 w 21730024"/>
              <a:gd name="connsiteY4" fmla="*/ 361018 h 6953376"/>
              <a:gd name="connsiteX5" fmla="*/ 3081497 w 21730024"/>
              <a:gd name="connsiteY5" fmla="*/ 1159496 h 6953376"/>
              <a:gd name="connsiteX6" fmla="*/ 1907143 w 21730024"/>
              <a:gd name="connsiteY6" fmla="*/ 361018 h 6953376"/>
              <a:gd name="connsiteX7" fmla="*/ 0 w 21730024"/>
              <a:gd name="connsiteY7" fmla="*/ 359281 h 6953376"/>
              <a:gd name="connsiteX8" fmla="*/ 479 w 21730024"/>
              <a:gd name="connsiteY8" fmla="*/ 6946935 h 6953376"/>
              <a:gd name="connsiteX0" fmla="*/ 479 w 21699030"/>
              <a:gd name="connsiteY0" fmla="*/ 6946937 h 6946937"/>
              <a:gd name="connsiteX1" fmla="*/ 21344051 w 21699030"/>
              <a:gd name="connsiteY1" fmla="*/ 6787711 h 6946937"/>
              <a:gd name="connsiteX2" fmla="*/ 21699027 w 21699030"/>
              <a:gd name="connsiteY2" fmla="*/ 203 h 6946937"/>
              <a:gd name="connsiteX3" fmla="*/ 20904736 w 21699030"/>
              <a:gd name="connsiteY3" fmla="*/ 385188 h 6946937"/>
              <a:gd name="connsiteX4" fmla="*/ 4224699 w 21699030"/>
              <a:gd name="connsiteY4" fmla="*/ 361020 h 6946937"/>
              <a:gd name="connsiteX5" fmla="*/ 3081497 w 21699030"/>
              <a:gd name="connsiteY5" fmla="*/ 1159498 h 6946937"/>
              <a:gd name="connsiteX6" fmla="*/ 1907143 w 21699030"/>
              <a:gd name="connsiteY6" fmla="*/ 361020 h 6946937"/>
              <a:gd name="connsiteX7" fmla="*/ 0 w 21699030"/>
              <a:gd name="connsiteY7" fmla="*/ 359283 h 6946937"/>
              <a:gd name="connsiteX8" fmla="*/ 479 w 21699030"/>
              <a:gd name="connsiteY8" fmla="*/ 6946937 h 6946937"/>
              <a:gd name="connsiteX0" fmla="*/ 479 w 21703452"/>
              <a:gd name="connsiteY0" fmla="*/ 6946935 h 6946935"/>
              <a:gd name="connsiteX1" fmla="*/ 21703403 w 21703452"/>
              <a:gd name="connsiteY1" fmla="*/ 6946012 h 6946935"/>
              <a:gd name="connsiteX2" fmla="*/ 21699027 w 21703452"/>
              <a:gd name="connsiteY2" fmla="*/ 201 h 6946935"/>
              <a:gd name="connsiteX3" fmla="*/ 20904736 w 21703452"/>
              <a:gd name="connsiteY3" fmla="*/ 385186 h 6946935"/>
              <a:gd name="connsiteX4" fmla="*/ 4224699 w 21703452"/>
              <a:gd name="connsiteY4" fmla="*/ 361018 h 6946935"/>
              <a:gd name="connsiteX5" fmla="*/ 3081497 w 21703452"/>
              <a:gd name="connsiteY5" fmla="*/ 1159496 h 6946935"/>
              <a:gd name="connsiteX6" fmla="*/ 1907143 w 21703452"/>
              <a:gd name="connsiteY6" fmla="*/ 361018 h 6946935"/>
              <a:gd name="connsiteX7" fmla="*/ 0 w 21703452"/>
              <a:gd name="connsiteY7" fmla="*/ 359281 h 6946935"/>
              <a:gd name="connsiteX8" fmla="*/ 479 w 21703452"/>
              <a:gd name="connsiteY8" fmla="*/ 6946935 h 6946935"/>
              <a:gd name="connsiteX0" fmla="*/ 479 w 21869774"/>
              <a:gd name="connsiteY0" fmla="*/ 6946945 h 6946945"/>
              <a:gd name="connsiteX1" fmla="*/ 21869772 w 21869774"/>
              <a:gd name="connsiteY1" fmla="*/ 6505527 h 6946945"/>
              <a:gd name="connsiteX2" fmla="*/ 21699027 w 21869774"/>
              <a:gd name="connsiteY2" fmla="*/ 211 h 6946945"/>
              <a:gd name="connsiteX3" fmla="*/ 20904736 w 21869774"/>
              <a:gd name="connsiteY3" fmla="*/ 385196 h 6946945"/>
              <a:gd name="connsiteX4" fmla="*/ 4224699 w 21869774"/>
              <a:gd name="connsiteY4" fmla="*/ 361028 h 6946945"/>
              <a:gd name="connsiteX5" fmla="*/ 3081497 w 21869774"/>
              <a:gd name="connsiteY5" fmla="*/ 1159506 h 6946945"/>
              <a:gd name="connsiteX6" fmla="*/ 1907143 w 21869774"/>
              <a:gd name="connsiteY6" fmla="*/ 361028 h 6946945"/>
              <a:gd name="connsiteX7" fmla="*/ 0 w 21869774"/>
              <a:gd name="connsiteY7" fmla="*/ 359291 h 6946945"/>
              <a:gd name="connsiteX8" fmla="*/ 479 w 21869774"/>
              <a:gd name="connsiteY8" fmla="*/ 6946945 h 6946945"/>
              <a:gd name="connsiteX0" fmla="*/ 479 w 21703454"/>
              <a:gd name="connsiteY0" fmla="*/ 6946935 h 6953376"/>
              <a:gd name="connsiteX1" fmla="*/ 21703405 w 21703454"/>
              <a:gd name="connsiteY1" fmla="*/ 6952895 h 6953376"/>
              <a:gd name="connsiteX2" fmla="*/ 21699027 w 21703454"/>
              <a:gd name="connsiteY2" fmla="*/ 201 h 6953376"/>
              <a:gd name="connsiteX3" fmla="*/ 20904736 w 21703454"/>
              <a:gd name="connsiteY3" fmla="*/ 385186 h 6953376"/>
              <a:gd name="connsiteX4" fmla="*/ 4224699 w 21703454"/>
              <a:gd name="connsiteY4" fmla="*/ 361018 h 6953376"/>
              <a:gd name="connsiteX5" fmla="*/ 3081497 w 21703454"/>
              <a:gd name="connsiteY5" fmla="*/ 1159496 h 6953376"/>
              <a:gd name="connsiteX6" fmla="*/ 1907143 w 21703454"/>
              <a:gd name="connsiteY6" fmla="*/ 361018 h 6953376"/>
              <a:gd name="connsiteX7" fmla="*/ 0 w 21703454"/>
              <a:gd name="connsiteY7" fmla="*/ 359281 h 6953376"/>
              <a:gd name="connsiteX8" fmla="*/ 479 w 21703454"/>
              <a:gd name="connsiteY8" fmla="*/ 6946935 h 6953376"/>
              <a:gd name="connsiteX0" fmla="*/ 479 w 21703404"/>
              <a:gd name="connsiteY0" fmla="*/ 6947131 h 6953091"/>
              <a:gd name="connsiteX1" fmla="*/ 21703405 w 21703404"/>
              <a:gd name="connsiteY1" fmla="*/ 6953091 h 6953091"/>
              <a:gd name="connsiteX2" fmla="*/ 21699027 w 21703404"/>
              <a:gd name="connsiteY2" fmla="*/ 397 h 6953091"/>
              <a:gd name="connsiteX3" fmla="*/ 20904736 w 21703404"/>
              <a:gd name="connsiteY3" fmla="*/ 385382 h 6953091"/>
              <a:gd name="connsiteX4" fmla="*/ 4224699 w 21703404"/>
              <a:gd name="connsiteY4" fmla="*/ 361214 h 6953091"/>
              <a:gd name="connsiteX5" fmla="*/ 3081497 w 21703404"/>
              <a:gd name="connsiteY5" fmla="*/ 1159692 h 6953091"/>
              <a:gd name="connsiteX6" fmla="*/ 1907143 w 21703404"/>
              <a:gd name="connsiteY6" fmla="*/ 361214 h 6953091"/>
              <a:gd name="connsiteX7" fmla="*/ 0 w 21703404"/>
              <a:gd name="connsiteY7" fmla="*/ 359477 h 6953091"/>
              <a:gd name="connsiteX8" fmla="*/ 479 w 21703404"/>
              <a:gd name="connsiteY8" fmla="*/ 6947131 h 6953091"/>
              <a:gd name="connsiteX0" fmla="*/ 479 w 21703404"/>
              <a:gd name="connsiteY0" fmla="*/ 6946733 h 6952693"/>
              <a:gd name="connsiteX1" fmla="*/ 21703405 w 21703404"/>
              <a:gd name="connsiteY1" fmla="*/ 6952693 h 6952693"/>
              <a:gd name="connsiteX2" fmla="*/ 21699027 w 21703404"/>
              <a:gd name="connsiteY2" fmla="*/ -1 h 6952693"/>
              <a:gd name="connsiteX3" fmla="*/ 20904736 w 21703404"/>
              <a:gd name="connsiteY3" fmla="*/ 384984 h 6952693"/>
              <a:gd name="connsiteX4" fmla="*/ 4224699 w 21703404"/>
              <a:gd name="connsiteY4" fmla="*/ 360816 h 6952693"/>
              <a:gd name="connsiteX5" fmla="*/ 3081497 w 21703404"/>
              <a:gd name="connsiteY5" fmla="*/ 1159294 h 6952693"/>
              <a:gd name="connsiteX6" fmla="*/ 1907143 w 21703404"/>
              <a:gd name="connsiteY6" fmla="*/ 360816 h 6952693"/>
              <a:gd name="connsiteX7" fmla="*/ 0 w 21703404"/>
              <a:gd name="connsiteY7" fmla="*/ 359079 h 6952693"/>
              <a:gd name="connsiteX8" fmla="*/ 479 w 21703404"/>
              <a:gd name="connsiteY8" fmla="*/ 6946733 h 6952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03404" h="6952693">
                <a:moveTo>
                  <a:pt x="479" y="6946733"/>
                </a:moveTo>
                <a:lnTo>
                  <a:pt x="21703405" y="6952693"/>
                </a:lnTo>
                <a:cubicBezTo>
                  <a:pt x="21701216" y="3476346"/>
                  <a:pt x="21706934" y="899518"/>
                  <a:pt x="21699027" y="-1"/>
                </a:cubicBezTo>
                <a:cubicBezTo>
                  <a:pt x="21554928" y="424890"/>
                  <a:pt x="21164498" y="379041"/>
                  <a:pt x="20904736" y="384984"/>
                </a:cubicBezTo>
                <a:lnTo>
                  <a:pt x="4224699" y="360816"/>
                </a:lnTo>
                <a:cubicBezTo>
                  <a:pt x="3647485" y="393958"/>
                  <a:pt x="3273106" y="696472"/>
                  <a:pt x="3081497" y="1159294"/>
                </a:cubicBezTo>
                <a:cubicBezTo>
                  <a:pt x="2783143" y="455517"/>
                  <a:pt x="2185783" y="359938"/>
                  <a:pt x="1907143" y="360816"/>
                </a:cubicBezTo>
                <a:lnTo>
                  <a:pt x="0" y="359079"/>
                </a:lnTo>
                <a:cubicBezTo>
                  <a:pt x="222" y="-2800"/>
                  <a:pt x="239" y="3652906"/>
                  <a:pt x="479" y="6946733"/>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18" name="Titre 1"/>
          <p:cNvSpPr>
            <a:spLocks noGrp="1"/>
          </p:cNvSpPr>
          <p:nvPr>
            <p:ph type="title" hasCustomPrompt="1"/>
            <p:custDataLst>
              <p:tags r:id="rId2"/>
            </p:custDataLst>
          </p:nvPr>
        </p:nvSpPr>
        <p:spPr>
          <a:xfrm>
            <a:off x="0" y="4699000"/>
            <a:ext cx="9144000" cy="899319"/>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36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sp>
        <p:nvSpPr>
          <p:cNvPr id="6" name="Text Placeholder 5"/>
          <p:cNvSpPr>
            <a:spLocks noGrp="1"/>
          </p:cNvSpPr>
          <p:nvPr>
            <p:ph type="body" sz="quarter" idx="10"/>
          </p:nvPr>
        </p:nvSpPr>
        <p:spPr>
          <a:xfrm>
            <a:off x="863600" y="5598319"/>
            <a:ext cx="7556500" cy="307777"/>
          </a:xfrm>
        </p:spPr>
        <p:txBody>
          <a:bodyPr/>
          <a:lstStyle>
            <a:lvl1pPr marL="0" indent="0">
              <a:buNone/>
              <a:defRPr sz="2000"/>
            </a:lvl1pPr>
            <a:lvl2pPr>
              <a:buNone/>
              <a:defRPr/>
            </a:lvl2pPr>
            <a:lvl3pPr>
              <a:buNone/>
              <a:defRPr/>
            </a:lvl3pPr>
            <a:lvl4pPr>
              <a:buNone/>
              <a:defRPr/>
            </a:lvl4pPr>
            <a:lvl5pPr>
              <a:buNone/>
              <a:defRPr/>
            </a:lvl5pPr>
          </a:lstStyle>
          <a:p>
            <a:pPr lvl="0"/>
            <a:r>
              <a:rPr lang="en-US" smtClean="0"/>
              <a:t>Click to edit Master text styles</a:t>
            </a:r>
          </a:p>
        </p:txBody>
      </p:sp>
    </p:spTree>
    <p:extLst>
      <p:ext uri="{BB962C8B-B14F-4D97-AF65-F5344CB8AC3E}">
        <p14:creationId xmlns="" xmlns:p14="http://schemas.microsoft.com/office/powerpoint/2010/main" val="23218587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grpSp>
        <p:nvGrpSpPr>
          <p:cNvPr id="39" name="Group 38"/>
          <p:cNvGrpSpPr/>
          <p:nvPr userDrawn="1"/>
        </p:nvGrpSpPr>
        <p:grpSpPr>
          <a:xfrm>
            <a:off x="0" y="2418146"/>
            <a:ext cx="9144000" cy="4550691"/>
            <a:chOff x="0" y="0"/>
            <a:chExt cx="12199939" cy="6905964"/>
          </a:xfrm>
        </p:grpSpPr>
        <p:sp>
          <p:nvSpPr>
            <p:cNvPr id="40" name="cdtRectangle 15 Id16"/>
            <p:cNvSpPr>
              <a:spLocks noChangeArrowheads="1"/>
            </p:cNvSpPr>
            <p:nvPr userDrawn="1">
              <p:custDataLst>
                <p:tags r:id="rId4"/>
              </p:custDataLst>
            </p:nvPr>
          </p:nvSpPr>
          <p:spPr bwMode="auto">
            <a:xfrm>
              <a:off x="0" y="0"/>
              <a:ext cx="12198350" cy="5157216"/>
            </a:xfrm>
            <a:prstGeom prst="rect">
              <a:avLst/>
            </a:prstGeom>
            <a:solidFill>
              <a:srgbClr val="D7D7CD"/>
            </a:solidFill>
            <a:ln w="9525">
              <a:noFill/>
              <a:miter lim="800000"/>
              <a:headEnd/>
              <a:tailEnd/>
            </a:ln>
            <a:effectLst/>
          </p:spPr>
          <p:txBody>
            <a:bodyPr wrap="none" anchor="ctr">
              <a:noAutofit/>
            </a:bodyPr>
            <a:lstStyle/>
            <a:p>
              <a:endParaRPr lang="en-US" dirty="0"/>
            </a:p>
          </p:txBody>
        </p:sp>
        <p:sp>
          <p:nvSpPr>
            <p:cNvPr id="41" name="cdtRectangle 1 Id13"/>
            <p:cNvSpPr/>
            <p:nvPr userDrawn="1">
              <p:custDataLst>
                <p:tags r:id="rId5"/>
              </p:custDataLst>
            </p:nvPr>
          </p:nvSpPr>
          <p:spPr bwMode="auto">
            <a:xfrm>
              <a:off x="0" y="0"/>
              <a:ext cx="12198350" cy="5157216"/>
            </a:xfrm>
            <a:prstGeom prst="rect">
              <a:avLst/>
            </a:prstGeom>
            <a:solidFill>
              <a:srgbClr val="FFFFFF">
                <a:alpha val="0"/>
              </a:srgbClr>
            </a:solidFill>
            <a:ln w="9525">
              <a:noFill/>
              <a:miter lim="800000"/>
              <a:headEnd/>
              <a:tailEnd/>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smtClean="0">
                <a:solidFill>
                  <a:schemeClr val="tx1"/>
                </a:solidFill>
              </a:endParaRPr>
            </a:p>
          </p:txBody>
        </p:sp>
        <p:pic>
          <p:nvPicPr>
            <p:cNvPr id="42" name="Grafik 9"/>
            <p:cNvPicPr>
              <a:picLocks noChangeAspect="1"/>
            </p:cNvPicPr>
            <p:nvPr userDrawn="1"/>
          </p:nvPicPr>
          <p:blipFill>
            <a:blip r:embed="rId8" cstate="email">
              <a:extLst>
                <a:ext uri="{28A0092B-C50C-407E-A947-70E740481C1C}">
                  <a14:useLocalDpi xmlns="" xmlns:a14="http://schemas.microsoft.com/office/drawing/2010/main"/>
                </a:ext>
              </a:extLst>
            </a:blip>
            <a:stretch>
              <a:fillRect/>
            </a:stretch>
          </p:blipFill>
          <p:spPr>
            <a:xfrm>
              <a:off x="1589" y="3149"/>
              <a:ext cx="12198350" cy="6857999"/>
            </a:xfrm>
            <a:prstGeom prst="rect">
              <a:avLst/>
            </a:prstGeom>
          </p:spPr>
        </p:pic>
        <p:sp>
          <p:nvSpPr>
            <p:cNvPr id="43" name="cdtText Box 101 Id11"/>
            <p:cNvSpPr txBox="1">
              <a:spLocks noChangeArrowheads="1"/>
            </p:cNvSpPr>
            <p:nvPr userDrawn="1">
              <p:custDataLst>
                <p:tags r:id="rId6"/>
              </p:custDataLst>
            </p:nvPr>
          </p:nvSpPr>
          <p:spPr bwMode="auto">
            <a:xfrm>
              <a:off x="6099176" y="0"/>
              <a:ext cx="1589" cy="1588"/>
            </a:xfrm>
            <a:prstGeom prst="rect">
              <a:avLst/>
            </a:prstGeom>
            <a:noFill/>
            <a:ln>
              <a:noFill/>
            </a:ln>
            <a:effectLst/>
            <a:extLst>
              <a:ext uri="{909E8E84-426E-40DD-AFC4-6F175D3DCCD1}">
                <a14:hiddenFill xmlns="" xmlns:a14="http://schemas.microsoft.com/office/drawing/2010/main">
                  <a:solidFill>
                    <a:srgbClr val="FF9900"/>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dirty="0">
                <a:solidFill>
                  <a:srgbClr val="990000"/>
                </a:solidFill>
              </a:endParaRPr>
            </a:p>
          </p:txBody>
        </p:sp>
        <p:pic>
          <p:nvPicPr>
            <p:cNvPr id="44" name="Grafik 16"/>
            <p:cNvPicPr>
              <a:picLocks noChangeAspect="1"/>
            </p:cNvPicPr>
            <p:nvPr userDrawn="1"/>
          </p:nvPicPr>
          <p:blipFill>
            <a:blip r:embed="rId9" cstate="email">
              <a:extLst>
                <a:ext uri="{28A0092B-C50C-407E-A947-70E740481C1C}">
                  <a14:useLocalDpi xmlns="" xmlns:a14="http://schemas.microsoft.com/office/drawing/2010/main"/>
                </a:ext>
              </a:extLst>
            </a:blip>
            <a:stretch>
              <a:fillRect/>
            </a:stretch>
          </p:blipFill>
          <p:spPr>
            <a:xfrm>
              <a:off x="1402727" y="2203593"/>
              <a:ext cx="894079" cy="973690"/>
            </a:xfrm>
            <a:prstGeom prst="rect">
              <a:avLst/>
            </a:prstGeom>
          </p:spPr>
        </p:pic>
        <p:pic>
          <p:nvPicPr>
            <p:cNvPr id="45" name="Grafik 17"/>
            <p:cNvPicPr>
              <a:picLocks noChangeAspect="1"/>
            </p:cNvPicPr>
            <p:nvPr userDrawn="1"/>
          </p:nvPicPr>
          <p:blipFill rotWithShape="1">
            <a:blip r:embed="rId10" cstate="email">
              <a:extLst>
                <a:ext uri="{28A0092B-C50C-407E-A947-70E740481C1C}">
                  <a14:useLocalDpi xmlns="" xmlns:a14="http://schemas.microsoft.com/office/drawing/2010/main"/>
                </a:ext>
              </a:extLst>
            </a:blip>
            <a:srcRect/>
            <a:stretch/>
          </p:blipFill>
          <p:spPr>
            <a:xfrm rot="21310415">
              <a:off x="9161015" y="5402403"/>
              <a:ext cx="1615925" cy="1147500"/>
            </a:xfrm>
            <a:prstGeom prst="rect">
              <a:avLst/>
            </a:prstGeom>
          </p:spPr>
        </p:pic>
        <p:pic>
          <p:nvPicPr>
            <p:cNvPr id="46" name="Grafik 18"/>
            <p:cNvPicPr>
              <a:picLocks noChangeAspect="1"/>
            </p:cNvPicPr>
            <p:nvPr userDrawn="1"/>
          </p:nvPicPr>
          <p:blipFill rotWithShape="1">
            <a:blip r:embed="rId11" cstate="email">
              <a:extLst>
                <a:ext uri="{28A0092B-C50C-407E-A947-70E740481C1C}">
                  <a14:useLocalDpi xmlns="" xmlns:a14="http://schemas.microsoft.com/office/drawing/2010/main"/>
                </a:ext>
              </a:extLst>
            </a:blip>
            <a:srcRect/>
            <a:stretch/>
          </p:blipFill>
          <p:spPr>
            <a:xfrm>
              <a:off x="10443655" y="3494480"/>
              <a:ext cx="1293415" cy="918479"/>
            </a:xfrm>
            <a:prstGeom prst="rect">
              <a:avLst/>
            </a:prstGeom>
          </p:spPr>
        </p:pic>
        <p:pic>
          <p:nvPicPr>
            <p:cNvPr id="47" name="Grafik 19"/>
            <p:cNvPicPr>
              <a:picLocks noChangeAspect="1"/>
            </p:cNvPicPr>
            <p:nvPr userDrawn="1"/>
          </p:nvPicPr>
          <p:blipFill rotWithShape="1">
            <a:blip r:embed="rId12" cstate="email">
              <a:extLst>
                <a:ext uri="{28A0092B-C50C-407E-A947-70E740481C1C}">
                  <a14:useLocalDpi xmlns="" xmlns:a14="http://schemas.microsoft.com/office/drawing/2010/main"/>
                </a:ext>
              </a:extLst>
            </a:blip>
            <a:srcRect/>
            <a:stretch/>
          </p:blipFill>
          <p:spPr>
            <a:xfrm>
              <a:off x="9606766" y="3966618"/>
              <a:ext cx="766513" cy="641179"/>
            </a:xfrm>
            <a:prstGeom prst="rect">
              <a:avLst/>
            </a:prstGeom>
          </p:spPr>
        </p:pic>
        <p:pic>
          <p:nvPicPr>
            <p:cNvPr id="48" name="Grafik 20"/>
            <p:cNvPicPr>
              <a:picLocks noChangeAspect="1"/>
            </p:cNvPicPr>
            <p:nvPr userDrawn="1"/>
          </p:nvPicPr>
          <p:blipFill rotWithShape="1">
            <a:blip r:embed="rId13" cstate="email">
              <a:extLst>
                <a:ext uri="{28A0092B-C50C-407E-A947-70E740481C1C}">
                  <a14:useLocalDpi xmlns="" xmlns:a14="http://schemas.microsoft.com/office/drawing/2010/main"/>
                </a:ext>
              </a:extLst>
            </a:blip>
            <a:srcRect/>
            <a:stretch/>
          </p:blipFill>
          <p:spPr>
            <a:xfrm>
              <a:off x="477009" y="3306348"/>
              <a:ext cx="1298110" cy="1134990"/>
            </a:xfrm>
            <a:prstGeom prst="rect">
              <a:avLst/>
            </a:prstGeom>
          </p:spPr>
        </p:pic>
        <p:pic>
          <p:nvPicPr>
            <p:cNvPr id="49" name="Grafik 21"/>
            <p:cNvPicPr>
              <a:picLocks noChangeAspect="1"/>
            </p:cNvPicPr>
            <p:nvPr userDrawn="1"/>
          </p:nvPicPr>
          <p:blipFill rotWithShape="1">
            <a:blip r:embed="rId14" cstate="email">
              <a:extLst>
                <a:ext uri="{28A0092B-C50C-407E-A947-70E740481C1C}">
                  <a14:useLocalDpi xmlns="" xmlns:a14="http://schemas.microsoft.com/office/drawing/2010/main"/>
                </a:ext>
              </a:extLst>
            </a:blip>
            <a:srcRect/>
            <a:stretch/>
          </p:blipFill>
          <p:spPr>
            <a:xfrm>
              <a:off x="2162795" y="2909632"/>
              <a:ext cx="647604" cy="729933"/>
            </a:xfrm>
            <a:prstGeom prst="rect">
              <a:avLst/>
            </a:prstGeom>
          </p:spPr>
        </p:pic>
        <p:pic>
          <p:nvPicPr>
            <p:cNvPr id="50" name="Grafik 22"/>
            <p:cNvPicPr>
              <a:picLocks noChangeAspect="1"/>
            </p:cNvPicPr>
            <p:nvPr userDrawn="1"/>
          </p:nvPicPr>
          <p:blipFill rotWithShape="1">
            <a:blip r:embed="rId15" cstate="email">
              <a:extLst>
                <a:ext uri="{28A0092B-C50C-407E-A947-70E740481C1C}">
                  <a14:useLocalDpi xmlns="" xmlns:a14="http://schemas.microsoft.com/office/drawing/2010/main"/>
                </a:ext>
              </a:extLst>
            </a:blip>
            <a:srcRect/>
            <a:stretch/>
          </p:blipFill>
          <p:spPr>
            <a:xfrm rot="20957595">
              <a:off x="9885962" y="1434517"/>
              <a:ext cx="487882" cy="1215845"/>
            </a:xfrm>
            <a:prstGeom prst="rect">
              <a:avLst/>
            </a:prstGeom>
          </p:spPr>
        </p:pic>
        <p:pic>
          <p:nvPicPr>
            <p:cNvPr id="51" name="Grafik 23"/>
            <p:cNvPicPr>
              <a:picLocks noChangeAspect="1"/>
            </p:cNvPicPr>
            <p:nvPr userDrawn="1"/>
          </p:nvPicPr>
          <p:blipFill rotWithShape="1">
            <a:blip r:embed="rId16" cstate="email">
              <a:extLst>
                <a:ext uri="{28A0092B-C50C-407E-A947-70E740481C1C}">
                  <a14:useLocalDpi xmlns="" xmlns:a14="http://schemas.microsoft.com/office/drawing/2010/main"/>
                </a:ext>
              </a:extLst>
            </a:blip>
            <a:srcRect/>
            <a:stretch/>
          </p:blipFill>
          <p:spPr>
            <a:xfrm>
              <a:off x="10912552" y="4823870"/>
              <a:ext cx="824517" cy="666692"/>
            </a:xfrm>
            <a:prstGeom prst="rect">
              <a:avLst/>
            </a:prstGeom>
          </p:spPr>
        </p:pic>
        <p:pic>
          <p:nvPicPr>
            <p:cNvPr id="52" name="Grafik 24"/>
            <p:cNvPicPr>
              <a:picLocks noChangeAspect="1"/>
            </p:cNvPicPr>
            <p:nvPr userDrawn="1"/>
          </p:nvPicPr>
          <p:blipFill rotWithShape="1">
            <a:blip r:embed="rId17" cstate="email">
              <a:extLst>
                <a:ext uri="{28A0092B-C50C-407E-A947-70E740481C1C}">
                  <a14:useLocalDpi xmlns="" xmlns:a14="http://schemas.microsoft.com/office/drawing/2010/main"/>
                </a:ext>
              </a:extLst>
            </a:blip>
            <a:srcRect/>
            <a:stretch/>
          </p:blipFill>
          <p:spPr>
            <a:xfrm>
              <a:off x="10214252" y="2772981"/>
              <a:ext cx="626851" cy="624123"/>
            </a:xfrm>
            <a:prstGeom prst="rect">
              <a:avLst/>
            </a:prstGeom>
          </p:spPr>
        </p:pic>
        <p:pic>
          <p:nvPicPr>
            <p:cNvPr id="53" name="Grafik 25"/>
            <p:cNvPicPr>
              <a:picLocks noChangeAspect="1"/>
            </p:cNvPicPr>
            <p:nvPr userDrawn="1"/>
          </p:nvPicPr>
          <p:blipFill rotWithShape="1">
            <a:blip r:embed="rId18" cstate="email">
              <a:extLst>
                <a:ext uri="{28A0092B-C50C-407E-A947-70E740481C1C}">
                  <a14:useLocalDpi xmlns="" xmlns:a14="http://schemas.microsoft.com/office/drawing/2010/main"/>
                </a:ext>
              </a:extLst>
            </a:blip>
            <a:srcRect/>
            <a:stretch/>
          </p:blipFill>
          <p:spPr>
            <a:xfrm>
              <a:off x="2929168" y="1374256"/>
              <a:ext cx="1136751" cy="781561"/>
            </a:xfrm>
            <a:prstGeom prst="rect">
              <a:avLst/>
            </a:prstGeom>
          </p:spPr>
        </p:pic>
        <p:pic>
          <p:nvPicPr>
            <p:cNvPr id="54" name="Grafik 26"/>
            <p:cNvPicPr>
              <a:picLocks noChangeAspect="1"/>
            </p:cNvPicPr>
            <p:nvPr userDrawn="1"/>
          </p:nvPicPr>
          <p:blipFill rotWithShape="1">
            <a:blip r:embed="rId19" cstate="email">
              <a:extLst>
                <a:ext uri="{28A0092B-C50C-407E-A947-70E740481C1C}">
                  <a14:useLocalDpi xmlns="" xmlns:a14="http://schemas.microsoft.com/office/drawing/2010/main"/>
                </a:ext>
              </a:extLst>
            </a:blip>
            <a:srcRect/>
            <a:stretch/>
          </p:blipFill>
          <p:spPr>
            <a:xfrm>
              <a:off x="9603526" y="3167534"/>
              <a:ext cx="536343" cy="448272"/>
            </a:xfrm>
            <a:prstGeom prst="rect">
              <a:avLst/>
            </a:prstGeom>
          </p:spPr>
        </p:pic>
        <p:pic>
          <p:nvPicPr>
            <p:cNvPr id="55" name="Grafik 27"/>
            <p:cNvPicPr>
              <a:picLocks noChangeAspect="1"/>
            </p:cNvPicPr>
            <p:nvPr userDrawn="1"/>
          </p:nvPicPr>
          <p:blipFill rotWithShape="1">
            <a:blip r:embed="rId20" cstate="email">
              <a:extLst>
                <a:ext uri="{28A0092B-C50C-407E-A947-70E740481C1C}">
                  <a14:useLocalDpi xmlns="" xmlns:a14="http://schemas.microsoft.com/office/drawing/2010/main"/>
                </a:ext>
              </a:extLst>
            </a:blip>
            <a:srcRect/>
            <a:stretch/>
          </p:blipFill>
          <p:spPr>
            <a:xfrm>
              <a:off x="4183609" y="1978017"/>
              <a:ext cx="903959" cy="491635"/>
            </a:xfrm>
            <a:prstGeom prst="rect">
              <a:avLst/>
            </a:prstGeom>
          </p:spPr>
        </p:pic>
        <p:pic>
          <p:nvPicPr>
            <p:cNvPr id="56" name="Grafik 28"/>
            <p:cNvPicPr>
              <a:picLocks noChangeAspect="1"/>
            </p:cNvPicPr>
            <p:nvPr userDrawn="1"/>
          </p:nvPicPr>
          <p:blipFill rotWithShape="1">
            <a:blip r:embed="rId21" cstate="email">
              <a:extLst>
                <a:ext uri="{28A0092B-C50C-407E-A947-70E740481C1C}">
                  <a14:useLocalDpi xmlns="" xmlns:a14="http://schemas.microsoft.com/office/drawing/2010/main"/>
                </a:ext>
              </a:extLst>
            </a:blip>
            <a:srcRect/>
            <a:stretch/>
          </p:blipFill>
          <p:spPr>
            <a:xfrm>
              <a:off x="2290694" y="1796881"/>
              <a:ext cx="571041" cy="671932"/>
            </a:xfrm>
            <a:prstGeom prst="rect">
              <a:avLst/>
            </a:prstGeom>
          </p:spPr>
        </p:pic>
        <p:pic>
          <p:nvPicPr>
            <p:cNvPr id="57" name="Grafik 29"/>
            <p:cNvPicPr>
              <a:picLocks noChangeAspect="1"/>
            </p:cNvPicPr>
            <p:nvPr userDrawn="1"/>
          </p:nvPicPr>
          <p:blipFill rotWithShape="1">
            <a:blip r:embed="rId22" cstate="email">
              <a:extLst>
                <a:ext uri="{28A0092B-C50C-407E-A947-70E740481C1C}">
                  <a14:useLocalDpi xmlns="" xmlns:a14="http://schemas.microsoft.com/office/drawing/2010/main"/>
                </a:ext>
              </a:extLst>
            </a:blip>
            <a:srcRect/>
            <a:stretch/>
          </p:blipFill>
          <p:spPr>
            <a:xfrm>
              <a:off x="970215" y="5274993"/>
              <a:ext cx="1506743" cy="789227"/>
            </a:xfrm>
            <a:prstGeom prst="rect">
              <a:avLst/>
            </a:prstGeom>
          </p:spPr>
        </p:pic>
        <p:pic>
          <p:nvPicPr>
            <p:cNvPr id="58" name="Grafik 30"/>
            <p:cNvPicPr>
              <a:picLocks noChangeAspect="1"/>
            </p:cNvPicPr>
            <p:nvPr userDrawn="1"/>
          </p:nvPicPr>
          <p:blipFill rotWithShape="1">
            <a:blip r:embed="rId23" cstate="email">
              <a:extLst>
                <a:ext uri="{28A0092B-C50C-407E-A947-70E740481C1C}">
                  <a14:useLocalDpi xmlns="" xmlns:a14="http://schemas.microsoft.com/office/drawing/2010/main"/>
                </a:ext>
              </a:extLst>
            </a:blip>
            <a:srcRect/>
            <a:stretch/>
          </p:blipFill>
          <p:spPr>
            <a:xfrm>
              <a:off x="9026875" y="1907742"/>
              <a:ext cx="730869" cy="666692"/>
            </a:xfrm>
            <a:prstGeom prst="rect">
              <a:avLst/>
            </a:prstGeom>
          </p:spPr>
        </p:pic>
        <p:pic>
          <p:nvPicPr>
            <p:cNvPr id="59" name="Grafik 31"/>
            <p:cNvPicPr>
              <a:picLocks noChangeAspect="1"/>
            </p:cNvPicPr>
            <p:nvPr userDrawn="1"/>
          </p:nvPicPr>
          <p:blipFill rotWithShape="1">
            <a:blip r:embed="rId24" cstate="email">
              <a:extLst>
                <a:ext uri="{28A0092B-C50C-407E-A947-70E740481C1C}">
                  <a14:useLocalDpi xmlns="" xmlns:a14="http://schemas.microsoft.com/office/drawing/2010/main"/>
                </a:ext>
              </a:extLst>
            </a:blip>
            <a:srcRect/>
            <a:stretch/>
          </p:blipFill>
          <p:spPr>
            <a:xfrm>
              <a:off x="1705601" y="3508427"/>
              <a:ext cx="716771" cy="802064"/>
            </a:xfrm>
            <a:prstGeom prst="rect">
              <a:avLst/>
            </a:prstGeom>
          </p:spPr>
        </p:pic>
        <p:pic>
          <p:nvPicPr>
            <p:cNvPr id="60" name="Grafik 32"/>
            <p:cNvPicPr>
              <a:picLocks noChangeAspect="1"/>
            </p:cNvPicPr>
            <p:nvPr userDrawn="1"/>
          </p:nvPicPr>
          <p:blipFill rotWithShape="1">
            <a:blip r:embed="rId25" cstate="email">
              <a:extLst>
                <a:ext uri="{28A0092B-C50C-407E-A947-70E740481C1C}">
                  <a14:useLocalDpi xmlns="" xmlns:a14="http://schemas.microsoft.com/office/drawing/2010/main"/>
                </a:ext>
              </a:extLst>
            </a:blip>
            <a:srcRect/>
            <a:stretch/>
          </p:blipFill>
          <p:spPr>
            <a:xfrm>
              <a:off x="854535" y="4733543"/>
              <a:ext cx="612872" cy="685801"/>
            </a:xfrm>
            <a:prstGeom prst="rect">
              <a:avLst/>
            </a:prstGeom>
          </p:spPr>
        </p:pic>
        <p:pic>
          <p:nvPicPr>
            <p:cNvPr id="61" name="Grafik 33"/>
            <p:cNvPicPr>
              <a:picLocks noChangeAspect="1"/>
            </p:cNvPicPr>
            <p:nvPr userDrawn="1"/>
          </p:nvPicPr>
          <p:blipFill rotWithShape="1">
            <a:blip r:embed="rId26" cstate="email">
              <a:extLst>
                <a:ext uri="{BEBA8EAE-BF5A-486C-A8C5-ECC9F3942E4B}">
                  <a14:imgProps xmlns="" xmlns:a14="http://schemas.microsoft.com/office/drawing/2010/main">
                    <a14:imgLayer r:embed="rId28">
                      <a14:imgEffect>
                        <a14:brightnessContrast bright="-15000"/>
                      </a14:imgEffect>
                    </a14:imgLayer>
                  </a14:imgProps>
                </a:ext>
                <a:ext uri="{28A0092B-C50C-407E-A947-70E740481C1C}">
                  <a14:useLocalDpi xmlns="" xmlns:a14="http://schemas.microsoft.com/office/drawing/2010/main"/>
                </a:ext>
              </a:extLst>
            </a:blip>
            <a:srcRect/>
            <a:stretch/>
          </p:blipFill>
          <p:spPr>
            <a:xfrm>
              <a:off x="9381496" y="2469652"/>
              <a:ext cx="716771" cy="802064"/>
            </a:xfrm>
            <a:prstGeom prst="rect">
              <a:avLst/>
            </a:prstGeom>
          </p:spPr>
        </p:pic>
        <p:pic>
          <p:nvPicPr>
            <p:cNvPr id="62" name="Grafik 34"/>
            <p:cNvPicPr>
              <a:picLocks noChangeAspect="1"/>
            </p:cNvPicPr>
            <p:nvPr userDrawn="1"/>
          </p:nvPicPr>
          <p:blipFill rotWithShape="1">
            <a:blip r:embed="rId29" cstate="email">
              <a:extLst>
                <a:ext uri="{28A0092B-C50C-407E-A947-70E740481C1C}">
                  <a14:useLocalDpi xmlns="" xmlns:a14="http://schemas.microsoft.com/office/drawing/2010/main"/>
                </a:ext>
              </a:extLst>
            </a:blip>
            <a:srcRect/>
            <a:stretch/>
          </p:blipFill>
          <p:spPr>
            <a:xfrm rot="1238755">
              <a:off x="8815761" y="835163"/>
              <a:ext cx="2735296" cy="677957"/>
            </a:xfrm>
            <a:prstGeom prst="rect">
              <a:avLst/>
            </a:prstGeom>
          </p:spPr>
        </p:pic>
        <p:pic>
          <p:nvPicPr>
            <p:cNvPr id="63" name="Grafik 36"/>
            <p:cNvPicPr>
              <a:picLocks noChangeAspect="1"/>
            </p:cNvPicPr>
            <p:nvPr userDrawn="1"/>
          </p:nvPicPr>
          <p:blipFill>
            <a:blip r:embed="rId30" cstate="email">
              <a:extLst>
                <a:ext uri="{28A0092B-C50C-407E-A947-70E740481C1C}">
                  <a14:useLocalDpi xmlns="" xmlns:a14="http://schemas.microsoft.com/office/drawing/2010/main"/>
                </a:ext>
              </a:extLst>
            </a:blip>
            <a:stretch>
              <a:fillRect/>
            </a:stretch>
          </p:blipFill>
          <p:spPr>
            <a:xfrm rot="21308690">
              <a:off x="2968123" y="401787"/>
              <a:ext cx="2814128" cy="720658"/>
            </a:xfrm>
            <a:prstGeom prst="rect">
              <a:avLst/>
            </a:prstGeom>
          </p:spPr>
        </p:pic>
        <p:pic>
          <p:nvPicPr>
            <p:cNvPr id="64" name="Grafik 37"/>
            <p:cNvPicPr>
              <a:picLocks noChangeAspect="1"/>
            </p:cNvPicPr>
            <p:nvPr userDrawn="1"/>
          </p:nvPicPr>
          <p:blipFill rotWithShape="1">
            <a:blip r:embed="rId31" cstate="email">
              <a:extLst>
                <a:ext uri="{28A0092B-C50C-407E-A947-70E740481C1C}">
                  <a14:useLocalDpi xmlns="" xmlns:a14="http://schemas.microsoft.com/office/drawing/2010/main"/>
                </a:ext>
              </a:extLst>
            </a:blip>
            <a:srcRect/>
            <a:stretch/>
          </p:blipFill>
          <p:spPr>
            <a:xfrm rot="21393070">
              <a:off x="5398255" y="54249"/>
              <a:ext cx="3338515" cy="1183849"/>
            </a:xfrm>
            <a:prstGeom prst="rect">
              <a:avLst/>
            </a:prstGeom>
          </p:spPr>
        </p:pic>
        <p:pic>
          <p:nvPicPr>
            <p:cNvPr id="65" name="Grafik 38"/>
            <p:cNvPicPr>
              <a:picLocks noChangeAspect="1"/>
            </p:cNvPicPr>
            <p:nvPr userDrawn="1"/>
          </p:nvPicPr>
          <p:blipFill>
            <a:blip r:embed="rId32" cstate="email">
              <a:extLst>
                <a:ext uri="{28A0092B-C50C-407E-A947-70E740481C1C}">
                  <a14:useLocalDpi xmlns="" xmlns:a14="http://schemas.microsoft.com/office/drawing/2010/main"/>
                </a:ext>
              </a:extLst>
            </a:blip>
            <a:stretch>
              <a:fillRect/>
            </a:stretch>
          </p:blipFill>
          <p:spPr>
            <a:xfrm>
              <a:off x="5266407" y="777371"/>
              <a:ext cx="4596596" cy="1051298"/>
            </a:xfrm>
            <a:prstGeom prst="rect">
              <a:avLst/>
            </a:prstGeom>
          </p:spPr>
        </p:pic>
        <p:pic>
          <p:nvPicPr>
            <p:cNvPr id="66" name="Grafik 39"/>
            <p:cNvPicPr>
              <a:picLocks noChangeAspect="1"/>
            </p:cNvPicPr>
            <p:nvPr userDrawn="1"/>
          </p:nvPicPr>
          <p:blipFill rotWithShape="1">
            <a:blip r:embed="rId33" cstate="email">
              <a:extLst>
                <a:ext uri="{28A0092B-C50C-407E-A947-70E740481C1C}">
                  <a14:useLocalDpi xmlns="" xmlns:a14="http://schemas.microsoft.com/office/drawing/2010/main"/>
                </a:ext>
              </a:extLst>
            </a:blip>
            <a:srcRect t="-5911"/>
            <a:stretch/>
          </p:blipFill>
          <p:spPr>
            <a:xfrm rot="21393070">
              <a:off x="4187210" y="830527"/>
              <a:ext cx="1253819" cy="1183849"/>
            </a:xfrm>
            <a:prstGeom prst="rect">
              <a:avLst/>
            </a:prstGeom>
          </p:spPr>
        </p:pic>
        <p:pic>
          <p:nvPicPr>
            <p:cNvPr id="67" name="Grafik 35"/>
            <p:cNvPicPr>
              <a:picLocks noChangeAspect="1"/>
            </p:cNvPicPr>
            <p:nvPr userDrawn="1"/>
          </p:nvPicPr>
          <p:blipFill rotWithShape="1">
            <a:blip r:embed="rId34" cstate="email">
              <a:extLst>
                <a:ext uri="{BEBA8EAE-BF5A-486C-A8C5-ECC9F3942E4B}">
                  <a14:imgProps xmlns="" xmlns:a14="http://schemas.microsoft.com/office/drawing/2010/main">
                    <a14:imgLayer r:embed="rId35">
                      <a14:imgEffect>
                        <a14:brightnessContrast bright="-19000"/>
                      </a14:imgEffect>
                    </a14:imgLayer>
                  </a14:imgProps>
                </a:ext>
                <a:ext uri="{28A0092B-C50C-407E-A947-70E740481C1C}">
                  <a14:useLocalDpi xmlns="" xmlns:a14="http://schemas.microsoft.com/office/drawing/2010/main"/>
                </a:ext>
              </a:extLst>
            </a:blip>
            <a:srcRect/>
            <a:stretch/>
          </p:blipFill>
          <p:spPr>
            <a:xfrm>
              <a:off x="1439474" y="1563932"/>
              <a:ext cx="8531646" cy="5342032"/>
            </a:xfrm>
            <a:prstGeom prst="rect">
              <a:avLst/>
            </a:prstGeom>
            <a:effectLst>
              <a:outerShdw blurRad="457200" dist="266700" dir="2700000" algn="tl" rotWithShape="0">
                <a:prstClr val="black">
                  <a:alpha val="40000"/>
                </a:prstClr>
              </a:outerShdw>
            </a:effectLst>
          </p:spPr>
        </p:pic>
      </p:grpSp>
      <p:sp>
        <p:nvSpPr>
          <p:cNvPr id="7" name="Rectangle 7"/>
          <p:cNvSpPr/>
          <p:nvPr userDrawn="1">
            <p:custDataLst>
              <p:tags r:id="rId2"/>
            </p:custDataLst>
          </p:nvPr>
        </p:nvSpPr>
        <p:spPr bwMode="auto">
          <a:xfrm>
            <a:off x="-573" y="-4552"/>
            <a:ext cx="9148783" cy="304155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1744042 w 12324337"/>
              <a:gd name="connsiteY7" fmla="*/ 1175529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233913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188049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188049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188049 h 2958168"/>
              <a:gd name="connsiteX8" fmla="*/ 1763257 w 12324337"/>
              <a:gd name="connsiteY8" fmla="*/ 2791 h 2958168"/>
              <a:gd name="connsiteX0" fmla="*/ 1763256 w 13203131"/>
              <a:gd name="connsiteY0" fmla="*/ 0 h 2958168"/>
              <a:gd name="connsiteX1" fmla="*/ 13202375 w 13203131"/>
              <a:gd name="connsiteY1" fmla="*/ 0 h 2958168"/>
              <a:gd name="connsiteX2" fmla="*/ 13201877 w 13203131"/>
              <a:gd name="connsiteY2" fmla="*/ 1476338 h 2958168"/>
              <a:gd name="connsiteX3" fmla="*/ 11929314 w 13203131"/>
              <a:gd name="connsiteY3" fmla="*/ 2153103 h 2958168"/>
              <a:gd name="connsiteX4" fmla="*/ 4958278 w 13203131"/>
              <a:gd name="connsiteY4" fmla="*/ 2159512 h 2958168"/>
              <a:gd name="connsiteX5" fmla="*/ 3821609 w 13203131"/>
              <a:gd name="connsiteY5" fmla="*/ 2958168 h 2958168"/>
              <a:gd name="connsiteX6" fmla="*/ 2640720 w 13203131"/>
              <a:gd name="connsiteY6" fmla="*/ 2174065 h 2958168"/>
              <a:gd name="connsiteX7" fmla="*/ 1758386 w 13203131"/>
              <a:gd name="connsiteY7" fmla="*/ 2188049 h 2958168"/>
              <a:gd name="connsiteX8" fmla="*/ 1763256 w 13203131"/>
              <a:gd name="connsiteY8" fmla="*/ 0 h 2958168"/>
              <a:gd name="connsiteX0" fmla="*/ 4870 w 11444745"/>
              <a:gd name="connsiteY0" fmla="*/ 0 h 2958168"/>
              <a:gd name="connsiteX1" fmla="*/ 11443989 w 11444745"/>
              <a:gd name="connsiteY1" fmla="*/ 0 h 2958168"/>
              <a:gd name="connsiteX2" fmla="*/ 11443491 w 11444745"/>
              <a:gd name="connsiteY2" fmla="*/ 1476338 h 2958168"/>
              <a:gd name="connsiteX3" fmla="*/ 10170928 w 11444745"/>
              <a:gd name="connsiteY3" fmla="*/ 2153103 h 2958168"/>
              <a:gd name="connsiteX4" fmla="*/ 3199892 w 11444745"/>
              <a:gd name="connsiteY4" fmla="*/ 2159512 h 2958168"/>
              <a:gd name="connsiteX5" fmla="*/ 2063223 w 11444745"/>
              <a:gd name="connsiteY5" fmla="*/ 2958168 h 2958168"/>
              <a:gd name="connsiteX6" fmla="*/ 882334 w 11444745"/>
              <a:gd name="connsiteY6" fmla="*/ 2174065 h 2958168"/>
              <a:gd name="connsiteX7" fmla="*/ 0 w 11444745"/>
              <a:gd name="connsiteY7" fmla="*/ 2188049 h 2958168"/>
              <a:gd name="connsiteX8" fmla="*/ 4870 w 11444745"/>
              <a:gd name="connsiteY8" fmla="*/ 0 h 2958168"/>
              <a:gd name="connsiteX0" fmla="*/ 4870 w 16276755"/>
              <a:gd name="connsiteY0" fmla="*/ 0 h 2958168"/>
              <a:gd name="connsiteX1" fmla="*/ 11443989 w 16276755"/>
              <a:gd name="connsiteY1" fmla="*/ 0 h 2958168"/>
              <a:gd name="connsiteX2" fmla="*/ 16275500 w 16276755"/>
              <a:gd name="connsiteY2" fmla="*/ 1268652 h 2958168"/>
              <a:gd name="connsiteX3" fmla="*/ 10170928 w 16276755"/>
              <a:gd name="connsiteY3" fmla="*/ 2153103 h 2958168"/>
              <a:gd name="connsiteX4" fmla="*/ 3199892 w 16276755"/>
              <a:gd name="connsiteY4" fmla="*/ 2159512 h 2958168"/>
              <a:gd name="connsiteX5" fmla="*/ 2063223 w 16276755"/>
              <a:gd name="connsiteY5" fmla="*/ 2958168 h 2958168"/>
              <a:gd name="connsiteX6" fmla="*/ 882334 w 16276755"/>
              <a:gd name="connsiteY6" fmla="*/ 2174065 h 2958168"/>
              <a:gd name="connsiteX7" fmla="*/ 0 w 16276755"/>
              <a:gd name="connsiteY7" fmla="*/ 2188049 h 2958168"/>
              <a:gd name="connsiteX8" fmla="*/ 4870 w 16276755"/>
              <a:gd name="connsiteY8" fmla="*/ 0 h 2958168"/>
              <a:gd name="connsiteX0" fmla="*/ 4870 w 16276755"/>
              <a:gd name="connsiteY0" fmla="*/ 0 h 2958168"/>
              <a:gd name="connsiteX1" fmla="*/ 11443989 w 16276755"/>
              <a:gd name="connsiteY1" fmla="*/ 0 h 2958168"/>
              <a:gd name="connsiteX2" fmla="*/ 16275500 w 16276755"/>
              <a:gd name="connsiteY2" fmla="*/ 1268652 h 2958168"/>
              <a:gd name="connsiteX3" fmla="*/ 15472016 w 16276755"/>
              <a:gd name="connsiteY3" fmla="*/ 2188049 h 2958168"/>
              <a:gd name="connsiteX4" fmla="*/ 3199892 w 16276755"/>
              <a:gd name="connsiteY4" fmla="*/ 2159512 h 2958168"/>
              <a:gd name="connsiteX5" fmla="*/ 2063223 w 16276755"/>
              <a:gd name="connsiteY5" fmla="*/ 2958168 h 2958168"/>
              <a:gd name="connsiteX6" fmla="*/ 882334 w 16276755"/>
              <a:gd name="connsiteY6" fmla="*/ 2174065 h 2958168"/>
              <a:gd name="connsiteX7" fmla="*/ 0 w 16276755"/>
              <a:gd name="connsiteY7" fmla="*/ 2188049 h 2958168"/>
              <a:gd name="connsiteX8" fmla="*/ 4870 w 16276755"/>
              <a:gd name="connsiteY8" fmla="*/ 0 h 2958168"/>
              <a:gd name="connsiteX0" fmla="*/ 4870 w 16278010"/>
              <a:gd name="connsiteY0" fmla="*/ 0 h 2958168"/>
              <a:gd name="connsiteX1" fmla="*/ 11443989 w 16278010"/>
              <a:gd name="connsiteY1" fmla="*/ 0 h 2958168"/>
              <a:gd name="connsiteX2" fmla="*/ 16276755 w 16278010"/>
              <a:gd name="connsiteY2" fmla="*/ 1717995 h 2958168"/>
              <a:gd name="connsiteX3" fmla="*/ 15472016 w 16278010"/>
              <a:gd name="connsiteY3" fmla="*/ 2188049 h 2958168"/>
              <a:gd name="connsiteX4" fmla="*/ 3199892 w 16278010"/>
              <a:gd name="connsiteY4" fmla="*/ 2159512 h 2958168"/>
              <a:gd name="connsiteX5" fmla="*/ 2063223 w 16278010"/>
              <a:gd name="connsiteY5" fmla="*/ 2958168 h 2958168"/>
              <a:gd name="connsiteX6" fmla="*/ 882334 w 16278010"/>
              <a:gd name="connsiteY6" fmla="*/ 2174065 h 2958168"/>
              <a:gd name="connsiteX7" fmla="*/ 0 w 16278010"/>
              <a:gd name="connsiteY7" fmla="*/ 2188049 h 2958168"/>
              <a:gd name="connsiteX8" fmla="*/ 4870 w 16278010"/>
              <a:gd name="connsiteY8" fmla="*/ 0 h 2958168"/>
              <a:gd name="connsiteX0" fmla="*/ 4870 w 16278010"/>
              <a:gd name="connsiteY0" fmla="*/ 0 h 2958168"/>
              <a:gd name="connsiteX1" fmla="*/ 11443989 w 16278010"/>
              <a:gd name="connsiteY1" fmla="*/ 0 h 2958168"/>
              <a:gd name="connsiteX2" fmla="*/ 16276755 w 16278010"/>
              <a:gd name="connsiteY2" fmla="*/ 1717995 h 2958168"/>
              <a:gd name="connsiteX3" fmla="*/ 15472016 w 16278010"/>
              <a:gd name="connsiteY3" fmla="*/ 2188049 h 2958168"/>
              <a:gd name="connsiteX4" fmla="*/ 3199892 w 16278010"/>
              <a:gd name="connsiteY4" fmla="*/ 2159512 h 2958168"/>
              <a:gd name="connsiteX5" fmla="*/ 2063223 w 16278010"/>
              <a:gd name="connsiteY5" fmla="*/ 2958168 h 2958168"/>
              <a:gd name="connsiteX6" fmla="*/ 882334 w 16278010"/>
              <a:gd name="connsiteY6" fmla="*/ 2174065 h 2958168"/>
              <a:gd name="connsiteX7" fmla="*/ 0 w 16278010"/>
              <a:gd name="connsiteY7" fmla="*/ 2188049 h 2958168"/>
              <a:gd name="connsiteX8" fmla="*/ 4870 w 16278010"/>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1 w 16273653"/>
              <a:gd name="connsiteY0" fmla="*/ 0 h 2958168"/>
              <a:gd name="connsiteX1" fmla="*/ 16273141 w 16273653"/>
              <a:gd name="connsiteY1" fmla="*/ 0 h 2958168"/>
              <a:gd name="connsiteX2" fmla="*/ 16271886 w 16273653"/>
              <a:gd name="connsiteY2" fmla="*/ 1717995 h 2958168"/>
              <a:gd name="connsiteX3" fmla="*/ 15467147 w 16273653"/>
              <a:gd name="connsiteY3" fmla="*/ 2188049 h 2958168"/>
              <a:gd name="connsiteX4" fmla="*/ 3195023 w 16273653"/>
              <a:gd name="connsiteY4" fmla="*/ 2159512 h 2958168"/>
              <a:gd name="connsiteX5" fmla="*/ 2058354 w 16273653"/>
              <a:gd name="connsiteY5" fmla="*/ 2958168 h 2958168"/>
              <a:gd name="connsiteX6" fmla="*/ 877465 w 16273653"/>
              <a:gd name="connsiteY6" fmla="*/ 2174065 h 2958168"/>
              <a:gd name="connsiteX7" fmla="*/ 2 w 16273653"/>
              <a:gd name="connsiteY7" fmla="*/ 2188049 h 2958168"/>
              <a:gd name="connsiteX8" fmla="*/ 1 w 16273653"/>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76364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76364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76364 h 2958168"/>
              <a:gd name="connsiteX8" fmla="*/ 4872 w 16278524"/>
              <a:gd name="connsiteY8" fmla="*/ 0 h 2958168"/>
              <a:gd name="connsiteX0" fmla="*/ 1 w 16273653"/>
              <a:gd name="connsiteY0" fmla="*/ 0 h 2958168"/>
              <a:gd name="connsiteX1" fmla="*/ 16273141 w 16273653"/>
              <a:gd name="connsiteY1" fmla="*/ 0 h 2958168"/>
              <a:gd name="connsiteX2" fmla="*/ 16271886 w 16273653"/>
              <a:gd name="connsiteY2" fmla="*/ 1717995 h 2958168"/>
              <a:gd name="connsiteX3" fmla="*/ 15467147 w 16273653"/>
              <a:gd name="connsiteY3" fmla="*/ 2188049 h 2958168"/>
              <a:gd name="connsiteX4" fmla="*/ 3195023 w 16273653"/>
              <a:gd name="connsiteY4" fmla="*/ 2159512 h 2958168"/>
              <a:gd name="connsiteX5" fmla="*/ 2058354 w 16273653"/>
              <a:gd name="connsiteY5" fmla="*/ 2958168 h 2958168"/>
              <a:gd name="connsiteX6" fmla="*/ 877465 w 16273653"/>
              <a:gd name="connsiteY6" fmla="*/ 2174065 h 2958168"/>
              <a:gd name="connsiteX7" fmla="*/ 2 w 16273653"/>
              <a:gd name="connsiteY7" fmla="*/ 2195845 h 2958168"/>
              <a:gd name="connsiteX8" fmla="*/ 1 w 16273653"/>
              <a:gd name="connsiteY8" fmla="*/ 0 h 2958168"/>
              <a:gd name="connsiteX0" fmla="*/ 1 w 21695427"/>
              <a:gd name="connsiteY0" fmla="*/ 0 h 2958168"/>
              <a:gd name="connsiteX1" fmla="*/ 16273141 w 21695427"/>
              <a:gd name="connsiteY1" fmla="*/ 0 h 2958168"/>
              <a:gd name="connsiteX2" fmla="*/ 21694172 w 21695427"/>
              <a:gd name="connsiteY2" fmla="*/ 1820764 h 2958168"/>
              <a:gd name="connsiteX3" fmla="*/ 15467147 w 21695427"/>
              <a:gd name="connsiteY3" fmla="*/ 2188049 h 2958168"/>
              <a:gd name="connsiteX4" fmla="*/ 3195023 w 21695427"/>
              <a:gd name="connsiteY4" fmla="*/ 2159512 h 2958168"/>
              <a:gd name="connsiteX5" fmla="*/ 2058354 w 21695427"/>
              <a:gd name="connsiteY5" fmla="*/ 2958168 h 2958168"/>
              <a:gd name="connsiteX6" fmla="*/ 877465 w 21695427"/>
              <a:gd name="connsiteY6" fmla="*/ 2174065 h 2958168"/>
              <a:gd name="connsiteX7" fmla="*/ 2 w 21695427"/>
              <a:gd name="connsiteY7" fmla="*/ 2195845 h 2958168"/>
              <a:gd name="connsiteX8" fmla="*/ 1 w 21695427"/>
              <a:gd name="connsiteY8" fmla="*/ 0 h 2958168"/>
              <a:gd name="connsiteX0" fmla="*/ 1 w 21695427"/>
              <a:gd name="connsiteY0" fmla="*/ 0 h 2958168"/>
              <a:gd name="connsiteX1" fmla="*/ 21694172 w 21695427"/>
              <a:gd name="connsiteY1" fmla="*/ 0 h 2958168"/>
              <a:gd name="connsiteX2" fmla="*/ 21694172 w 21695427"/>
              <a:gd name="connsiteY2" fmla="*/ 1820764 h 2958168"/>
              <a:gd name="connsiteX3" fmla="*/ 15467147 w 21695427"/>
              <a:gd name="connsiteY3" fmla="*/ 2188049 h 2958168"/>
              <a:gd name="connsiteX4" fmla="*/ 3195023 w 21695427"/>
              <a:gd name="connsiteY4" fmla="*/ 2159512 h 2958168"/>
              <a:gd name="connsiteX5" fmla="*/ 2058354 w 21695427"/>
              <a:gd name="connsiteY5" fmla="*/ 2958168 h 2958168"/>
              <a:gd name="connsiteX6" fmla="*/ 877465 w 21695427"/>
              <a:gd name="connsiteY6" fmla="*/ 2174065 h 2958168"/>
              <a:gd name="connsiteX7" fmla="*/ 2 w 21695427"/>
              <a:gd name="connsiteY7" fmla="*/ 2195845 h 2958168"/>
              <a:gd name="connsiteX8" fmla="*/ 1 w 21695427"/>
              <a:gd name="connsiteY8" fmla="*/ 0 h 2958168"/>
              <a:gd name="connsiteX0" fmla="*/ 1 w 21695939"/>
              <a:gd name="connsiteY0" fmla="*/ 0 h 2958168"/>
              <a:gd name="connsiteX1" fmla="*/ 21695427 w 21695939"/>
              <a:gd name="connsiteY1" fmla="*/ 0 h 2958168"/>
              <a:gd name="connsiteX2" fmla="*/ 21694172 w 21695939"/>
              <a:gd name="connsiteY2" fmla="*/ 1820764 h 2958168"/>
              <a:gd name="connsiteX3" fmla="*/ 15467147 w 21695939"/>
              <a:gd name="connsiteY3" fmla="*/ 2188049 h 2958168"/>
              <a:gd name="connsiteX4" fmla="*/ 3195023 w 21695939"/>
              <a:gd name="connsiteY4" fmla="*/ 2159512 h 2958168"/>
              <a:gd name="connsiteX5" fmla="*/ 2058354 w 21695939"/>
              <a:gd name="connsiteY5" fmla="*/ 2958168 h 2958168"/>
              <a:gd name="connsiteX6" fmla="*/ 877465 w 21695939"/>
              <a:gd name="connsiteY6" fmla="*/ 2174065 h 2958168"/>
              <a:gd name="connsiteX7" fmla="*/ 2 w 21695939"/>
              <a:gd name="connsiteY7" fmla="*/ 2195845 h 2958168"/>
              <a:gd name="connsiteX8" fmla="*/ 1 w 21695939"/>
              <a:gd name="connsiteY8" fmla="*/ 0 h 2958168"/>
              <a:gd name="connsiteX0" fmla="*/ 1 w 21695939"/>
              <a:gd name="connsiteY0" fmla="*/ 0 h 2958168"/>
              <a:gd name="connsiteX1" fmla="*/ 21695427 w 21695939"/>
              <a:gd name="connsiteY1" fmla="*/ 0 h 2958168"/>
              <a:gd name="connsiteX2" fmla="*/ 21694172 w 21695939"/>
              <a:gd name="connsiteY2" fmla="*/ 1820764 h 2958168"/>
              <a:gd name="connsiteX3" fmla="*/ 20899883 w 21695939"/>
              <a:gd name="connsiteY3" fmla="*/ 2195845 h 2958168"/>
              <a:gd name="connsiteX4" fmla="*/ 3195023 w 21695939"/>
              <a:gd name="connsiteY4" fmla="*/ 2159512 h 2958168"/>
              <a:gd name="connsiteX5" fmla="*/ 2058354 w 21695939"/>
              <a:gd name="connsiteY5" fmla="*/ 2958168 h 2958168"/>
              <a:gd name="connsiteX6" fmla="*/ 877465 w 21695939"/>
              <a:gd name="connsiteY6" fmla="*/ 2174065 h 2958168"/>
              <a:gd name="connsiteX7" fmla="*/ 2 w 21695939"/>
              <a:gd name="connsiteY7" fmla="*/ 2195845 h 2958168"/>
              <a:gd name="connsiteX8" fmla="*/ 1 w 21695939"/>
              <a:gd name="connsiteY8" fmla="*/ 0 h 2958168"/>
              <a:gd name="connsiteX0" fmla="*/ 2 w 21700437"/>
              <a:gd name="connsiteY0" fmla="*/ 0 h 4325468"/>
              <a:gd name="connsiteX1" fmla="*/ 21699925 w 21700437"/>
              <a:gd name="connsiteY1" fmla="*/ 1367300 h 4325468"/>
              <a:gd name="connsiteX2" fmla="*/ 21698670 w 21700437"/>
              <a:gd name="connsiteY2" fmla="*/ 3188064 h 4325468"/>
              <a:gd name="connsiteX3" fmla="*/ 20904381 w 21700437"/>
              <a:gd name="connsiteY3" fmla="*/ 3563145 h 4325468"/>
              <a:gd name="connsiteX4" fmla="*/ 3199521 w 21700437"/>
              <a:gd name="connsiteY4" fmla="*/ 3526812 h 4325468"/>
              <a:gd name="connsiteX5" fmla="*/ 2062852 w 21700437"/>
              <a:gd name="connsiteY5" fmla="*/ 4325468 h 4325468"/>
              <a:gd name="connsiteX6" fmla="*/ 881963 w 21700437"/>
              <a:gd name="connsiteY6" fmla="*/ 3541365 h 4325468"/>
              <a:gd name="connsiteX7" fmla="*/ 4500 w 21700437"/>
              <a:gd name="connsiteY7" fmla="*/ 3563145 h 4325468"/>
              <a:gd name="connsiteX8" fmla="*/ 2 w 21700437"/>
              <a:gd name="connsiteY8" fmla="*/ 0 h 4325468"/>
              <a:gd name="connsiteX0" fmla="*/ 2 w 21699925"/>
              <a:gd name="connsiteY0" fmla="*/ 0 h 4325468"/>
              <a:gd name="connsiteX1" fmla="*/ 21698669 w 21699925"/>
              <a:gd name="connsiteY1" fmla="*/ 0 h 4325468"/>
              <a:gd name="connsiteX2" fmla="*/ 21698670 w 21699925"/>
              <a:gd name="connsiteY2" fmla="*/ 3188064 h 4325468"/>
              <a:gd name="connsiteX3" fmla="*/ 20904381 w 21699925"/>
              <a:gd name="connsiteY3" fmla="*/ 3563145 h 4325468"/>
              <a:gd name="connsiteX4" fmla="*/ 3199521 w 21699925"/>
              <a:gd name="connsiteY4" fmla="*/ 3526812 h 4325468"/>
              <a:gd name="connsiteX5" fmla="*/ 2062852 w 21699925"/>
              <a:gd name="connsiteY5" fmla="*/ 4325468 h 4325468"/>
              <a:gd name="connsiteX6" fmla="*/ 881963 w 21699925"/>
              <a:gd name="connsiteY6" fmla="*/ 3541365 h 4325468"/>
              <a:gd name="connsiteX7" fmla="*/ 4500 w 21699925"/>
              <a:gd name="connsiteY7" fmla="*/ 3563145 h 4325468"/>
              <a:gd name="connsiteX8" fmla="*/ 2 w 21699925"/>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1918176 w 22713720"/>
              <a:gd name="connsiteY3" fmla="*/ 3563145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1018295 w 22713720"/>
              <a:gd name="connsiteY7" fmla="*/ 3563145 h 4325468"/>
              <a:gd name="connsiteX8" fmla="*/ 3 w 22713720"/>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1918176 w 22713720"/>
              <a:gd name="connsiteY3" fmla="*/ 3563145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0 w 22713720"/>
              <a:gd name="connsiteY7" fmla="*/ 3529270 h 4325468"/>
              <a:gd name="connsiteX8" fmla="*/ 3 w 22713720"/>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1918176 w 22713720"/>
              <a:gd name="connsiteY3" fmla="*/ 3563145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2 w 22713720"/>
              <a:gd name="connsiteY7" fmla="*/ 3551158 h 4325468"/>
              <a:gd name="connsiteX8" fmla="*/ 3 w 22713720"/>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0899886 w 22713720"/>
              <a:gd name="connsiteY3" fmla="*/ 3551158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2 w 22713720"/>
              <a:gd name="connsiteY7" fmla="*/ 3551158 h 4325468"/>
              <a:gd name="connsiteX8" fmla="*/ 3 w 22713720"/>
              <a:gd name="connsiteY8" fmla="*/ 0 h 4325468"/>
              <a:gd name="connsiteX0" fmla="*/ 3 w 22712977"/>
              <a:gd name="connsiteY0" fmla="*/ 0 h 4325468"/>
              <a:gd name="connsiteX1" fmla="*/ 22712464 w 22712977"/>
              <a:gd name="connsiteY1" fmla="*/ 0 h 4325468"/>
              <a:gd name="connsiteX2" fmla="*/ 21694177 w 22712977"/>
              <a:gd name="connsiteY2" fmla="*/ 3166173 h 4325468"/>
              <a:gd name="connsiteX3" fmla="*/ 20899886 w 22712977"/>
              <a:gd name="connsiteY3" fmla="*/ 3551158 h 4325468"/>
              <a:gd name="connsiteX4" fmla="*/ 4213316 w 22712977"/>
              <a:gd name="connsiteY4" fmla="*/ 3526812 h 4325468"/>
              <a:gd name="connsiteX5" fmla="*/ 3076647 w 22712977"/>
              <a:gd name="connsiteY5" fmla="*/ 4325468 h 4325468"/>
              <a:gd name="connsiteX6" fmla="*/ 1895758 w 22712977"/>
              <a:gd name="connsiteY6" fmla="*/ 3541365 h 4325468"/>
              <a:gd name="connsiteX7" fmla="*/ 2 w 22712977"/>
              <a:gd name="connsiteY7" fmla="*/ 3551158 h 4325468"/>
              <a:gd name="connsiteX8" fmla="*/ 3 w 22712977"/>
              <a:gd name="connsiteY8" fmla="*/ 0 h 4325468"/>
              <a:gd name="connsiteX0" fmla="*/ 3 w 21695432"/>
              <a:gd name="connsiteY0" fmla="*/ 0 h 4325468"/>
              <a:gd name="connsiteX1" fmla="*/ 21153955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895758 w 21695432"/>
              <a:gd name="connsiteY6" fmla="*/ 3541365 h 4325468"/>
              <a:gd name="connsiteX7" fmla="*/ 2 w 21695432"/>
              <a:gd name="connsiteY7" fmla="*/ 3551158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895758 w 21695432"/>
              <a:gd name="connsiteY6" fmla="*/ 3541365 h 4325468"/>
              <a:gd name="connsiteX7" fmla="*/ 2 w 21695432"/>
              <a:gd name="connsiteY7" fmla="*/ 3551158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895758 w 21695432"/>
              <a:gd name="connsiteY6" fmla="*/ 3541365 h 4325468"/>
              <a:gd name="connsiteX7" fmla="*/ 5 w 21695432"/>
              <a:gd name="connsiteY7" fmla="*/ 3526990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902293 w 21695432"/>
              <a:gd name="connsiteY6" fmla="*/ 3526990 h 4325468"/>
              <a:gd name="connsiteX7" fmla="*/ 5 w 21695432"/>
              <a:gd name="connsiteY7" fmla="*/ 3526990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9849 w 21695432"/>
              <a:gd name="connsiteY4" fmla="*/ 3526990 h 4325468"/>
              <a:gd name="connsiteX5" fmla="*/ 3076647 w 21695432"/>
              <a:gd name="connsiteY5" fmla="*/ 4325468 h 4325468"/>
              <a:gd name="connsiteX6" fmla="*/ 1902293 w 21695432"/>
              <a:gd name="connsiteY6" fmla="*/ 3526990 h 4325468"/>
              <a:gd name="connsiteX7" fmla="*/ 5 w 21695432"/>
              <a:gd name="connsiteY7" fmla="*/ 3526990 h 4325468"/>
              <a:gd name="connsiteX8" fmla="*/ 3 w 21695432"/>
              <a:gd name="connsiteY8" fmla="*/ 0 h 4325468"/>
              <a:gd name="connsiteX0" fmla="*/ 0 w 21725852"/>
              <a:gd name="connsiteY0" fmla="*/ 0 h 7530858"/>
              <a:gd name="connsiteX1" fmla="*/ 21725164 w 21725852"/>
              <a:gd name="connsiteY1" fmla="*/ 3227281 h 7530858"/>
              <a:gd name="connsiteX2" fmla="*/ 21725164 w 21725852"/>
              <a:gd name="connsiteY2" fmla="*/ 6371563 h 7530858"/>
              <a:gd name="connsiteX3" fmla="*/ 20930873 w 21725852"/>
              <a:gd name="connsiteY3" fmla="*/ 6756548 h 7530858"/>
              <a:gd name="connsiteX4" fmla="*/ 4250836 w 21725852"/>
              <a:gd name="connsiteY4" fmla="*/ 6732380 h 7530858"/>
              <a:gd name="connsiteX5" fmla="*/ 3107634 w 21725852"/>
              <a:gd name="connsiteY5" fmla="*/ 7530858 h 7530858"/>
              <a:gd name="connsiteX6" fmla="*/ 1933280 w 21725852"/>
              <a:gd name="connsiteY6" fmla="*/ 6732380 h 7530858"/>
              <a:gd name="connsiteX7" fmla="*/ 30992 w 21725852"/>
              <a:gd name="connsiteY7" fmla="*/ 6732380 h 7530858"/>
              <a:gd name="connsiteX8" fmla="*/ 0 w 21725852"/>
              <a:gd name="connsiteY8" fmla="*/ 0 h 7530858"/>
              <a:gd name="connsiteX0" fmla="*/ 0 w 21818142"/>
              <a:gd name="connsiteY0" fmla="*/ 0 h 7530858"/>
              <a:gd name="connsiteX1" fmla="*/ 21818140 w 21818142"/>
              <a:gd name="connsiteY1" fmla="*/ 85999 h 7530858"/>
              <a:gd name="connsiteX2" fmla="*/ 21725164 w 21818142"/>
              <a:gd name="connsiteY2" fmla="*/ 6371563 h 7530858"/>
              <a:gd name="connsiteX3" fmla="*/ 20930873 w 21818142"/>
              <a:gd name="connsiteY3" fmla="*/ 6756548 h 7530858"/>
              <a:gd name="connsiteX4" fmla="*/ 4250836 w 21818142"/>
              <a:gd name="connsiteY4" fmla="*/ 6732380 h 7530858"/>
              <a:gd name="connsiteX5" fmla="*/ 3107634 w 21818142"/>
              <a:gd name="connsiteY5" fmla="*/ 7530858 h 7530858"/>
              <a:gd name="connsiteX6" fmla="*/ 1933280 w 21818142"/>
              <a:gd name="connsiteY6" fmla="*/ 6732380 h 7530858"/>
              <a:gd name="connsiteX7" fmla="*/ 30992 w 21818142"/>
              <a:gd name="connsiteY7" fmla="*/ 6732380 h 7530858"/>
              <a:gd name="connsiteX8" fmla="*/ 0 w 21818142"/>
              <a:gd name="connsiteY8" fmla="*/ 0 h 7530858"/>
              <a:gd name="connsiteX0" fmla="*/ 419487 w 21787150"/>
              <a:gd name="connsiteY0" fmla="*/ 485240 h 7445958"/>
              <a:gd name="connsiteX1" fmla="*/ 21787148 w 21787150"/>
              <a:gd name="connsiteY1" fmla="*/ 1099 h 7445958"/>
              <a:gd name="connsiteX2" fmla="*/ 21694172 w 21787150"/>
              <a:gd name="connsiteY2" fmla="*/ 6286663 h 7445958"/>
              <a:gd name="connsiteX3" fmla="*/ 20899881 w 21787150"/>
              <a:gd name="connsiteY3" fmla="*/ 6671648 h 7445958"/>
              <a:gd name="connsiteX4" fmla="*/ 4219844 w 21787150"/>
              <a:gd name="connsiteY4" fmla="*/ 6647480 h 7445958"/>
              <a:gd name="connsiteX5" fmla="*/ 3076642 w 21787150"/>
              <a:gd name="connsiteY5" fmla="*/ 7445958 h 7445958"/>
              <a:gd name="connsiteX6" fmla="*/ 1902288 w 21787150"/>
              <a:gd name="connsiteY6" fmla="*/ 6647480 h 7445958"/>
              <a:gd name="connsiteX7" fmla="*/ 0 w 21787150"/>
              <a:gd name="connsiteY7" fmla="*/ 6647480 h 7445958"/>
              <a:gd name="connsiteX8" fmla="*/ 419487 w 21787150"/>
              <a:gd name="connsiteY8" fmla="*/ 485240 h 7445958"/>
              <a:gd name="connsiteX0" fmla="*/ 0 w 21788505"/>
              <a:gd name="connsiteY0" fmla="*/ 0 h 7463422"/>
              <a:gd name="connsiteX1" fmla="*/ 21788503 w 21788505"/>
              <a:gd name="connsiteY1" fmla="*/ 18563 h 7463422"/>
              <a:gd name="connsiteX2" fmla="*/ 21695527 w 21788505"/>
              <a:gd name="connsiteY2" fmla="*/ 6304127 h 7463422"/>
              <a:gd name="connsiteX3" fmla="*/ 20901236 w 21788505"/>
              <a:gd name="connsiteY3" fmla="*/ 6689112 h 7463422"/>
              <a:gd name="connsiteX4" fmla="*/ 4221199 w 21788505"/>
              <a:gd name="connsiteY4" fmla="*/ 6664944 h 7463422"/>
              <a:gd name="connsiteX5" fmla="*/ 3077997 w 21788505"/>
              <a:gd name="connsiteY5" fmla="*/ 7463422 h 7463422"/>
              <a:gd name="connsiteX6" fmla="*/ 1903643 w 21788505"/>
              <a:gd name="connsiteY6" fmla="*/ 6664944 h 7463422"/>
              <a:gd name="connsiteX7" fmla="*/ 1355 w 21788505"/>
              <a:gd name="connsiteY7" fmla="*/ 6664944 h 7463422"/>
              <a:gd name="connsiteX8" fmla="*/ 0 w 21788505"/>
              <a:gd name="connsiteY8" fmla="*/ 0 h 7463422"/>
              <a:gd name="connsiteX0" fmla="*/ 0 w 21788505"/>
              <a:gd name="connsiteY0" fmla="*/ 0 h 7463422"/>
              <a:gd name="connsiteX1" fmla="*/ 21788503 w 21788505"/>
              <a:gd name="connsiteY1" fmla="*/ 18563 h 7463422"/>
              <a:gd name="connsiteX2" fmla="*/ 21695527 w 21788505"/>
              <a:gd name="connsiteY2" fmla="*/ 6304127 h 7463422"/>
              <a:gd name="connsiteX3" fmla="*/ 20901236 w 21788505"/>
              <a:gd name="connsiteY3" fmla="*/ 6689112 h 7463422"/>
              <a:gd name="connsiteX4" fmla="*/ 4221199 w 21788505"/>
              <a:gd name="connsiteY4" fmla="*/ 6664944 h 7463422"/>
              <a:gd name="connsiteX5" fmla="*/ 3077997 w 21788505"/>
              <a:gd name="connsiteY5" fmla="*/ 7463422 h 7463422"/>
              <a:gd name="connsiteX6" fmla="*/ 1903643 w 21788505"/>
              <a:gd name="connsiteY6" fmla="*/ 6664944 h 7463422"/>
              <a:gd name="connsiteX7" fmla="*/ 1355 w 21788505"/>
              <a:gd name="connsiteY7" fmla="*/ 6664944 h 7463422"/>
              <a:gd name="connsiteX8" fmla="*/ 0 w 21788505"/>
              <a:gd name="connsiteY8" fmla="*/ 0 h 7463422"/>
              <a:gd name="connsiteX0" fmla="*/ 0 w 21735164"/>
              <a:gd name="connsiteY0" fmla="*/ 0 h 7463422"/>
              <a:gd name="connsiteX1" fmla="*/ 21735159 w 21735164"/>
              <a:gd name="connsiteY1" fmla="*/ 6301 h 7463422"/>
              <a:gd name="connsiteX2" fmla="*/ 21695527 w 21735164"/>
              <a:gd name="connsiteY2" fmla="*/ 6304127 h 7463422"/>
              <a:gd name="connsiteX3" fmla="*/ 20901236 w 21735164"/>
              <a:gd name="connsiteY3" fmla="*/ 6689112 h 7463422"/>
              <a:gd name="connsiteX4" fmla="*/ 4221199 w 21735164"/>
              <a:gd name="connsiteY4" fmla="*/ 6664944 h 7463422"/>
              <a:gd name="connsiteX5" fmla="*/ 3077997 w 21735164"/>
              <a:gd name="connsiteY5" fmla="*/ 7463422 h 7463422"/>
              <a:gd name="connsiteX6" fmla="*/ 1903643 w 21735164"/>
              <a:gd name="connsiteY6" fmla="*/ 6664944 h 7463422"/>
              <a:gd name="connsiteX7" fmla="*/ 1355 w 21735164"/>
              <a:gd name="connsiteY7" fmla="*/ 6664944 h 7463422"/>
              <a:gd name="connsiteX8" fmla="*/ 0 w 21735164"/>
              <a:gd name="connsiteY8" fmla="*/ 0 h 7463422"/>
              <a:gd name="connsiteX0" fmla="*/ 0 w 21695531"/>
              <a:gd name="connsiteY0" fmla="*/ 0 h 7463422"/>
              <a:gd name="connsiteX1" fmla="*/ 21421007 w 21695531"/>
              <a:gd name="connsiteY1" fmla="*/ 43084 h 7463422"/>
              <a:gd name="connsiteX2" fmla="*/ 21695527 w 21695531"/>
              <a:gd name="connsiteY2" fmla="*/ 6304127 h 7463422"/>
              <a:gd name="connsiteX3" fmla="*/ 20901236 w 21695531"/>
              <a:gd name="connsiteY3" fmla="*/ 6689112 h 7463422"/>
              <a:gd name="connsiteX4" fmla="*/ 4221199 w 21695531"/>
              <a:gd name="connsiteY4" fmla="*/ 6664944 h 7463422"/>
              <a:gd name="connsiteX5" fmla="*/ 3077997 w 21695531"/>
              <a:gd name="connsiteY5" fmla="*/ 7463422 h 7463422"/>
              <a:gd name="connsiteX6" fmla="*/ 1903643 w 21695531"/>
              <a:gd name="connsiteY6" fmla="*/ 6664944 h 7463422"/>
              <a:gd name="connsiteX7" fmla="*/ 1355 w 21695531"/>
              <a:gd name="connsiteY7" fmla="*/ 6664944 h 7463422"/>
              <a:gd name="connsiteX8" fmla="*/ 0 w 21695531"/>
              <a:gd name="connsiteY8" fmla="*/ 0 h 7463422"/>
              <a:gd name="connsiteX0" fmla="*/ 0 w 21705543"/>
              <a:gd name="connsiteY0" fmla="*/ 0 h 7463422"/>
              <a:gd name="connsiteX1" fmla="*/ 21705522 w 21705543"/>
              <a:gd name="connsiteY1" fmla="*/ 6301 h 7463422"/>
              <a:gd name="connsiteX2" fmla="*/ 21695527 w 21705543"/>
              <a:gd name="connsiteY2" fmla="*/ 6304127 h 7463422"/>
              <a:gd name="connsiteX3" fmla="*/ 20901236 w 21705543"/>
              <a:gd name="connsiteY3" fmla="*/ 6689112 h 7463422"/>
              <a:gd name="connsiteX4" fmla="*/ 4221199 w 21705543"/>
              <a:gd name="connsiteY4" fmla="*/ 6664944 h 7463422"/>
              <a:gd name="connsiteX5" fmla="*/ 3077997 w 21705543"/>
              <a:gd name="connsiteY5" fmla="*/ 7463422 h 7463422"/>
              <a:gd name="connsiteX6" fmla="*/ 1903643 w 21705543"/>
              <a:gd name="connsiteY6" fmla="*/ 6664944 h 7463422"/>
              <a:gd name="connsiteX7" fmla="*/ 1355 w 21705543"/>
              <a:gd name="connsiteY7" fmla="*/ 6664944 h 7463422"/>
              <a:gd name="connsiteX8" fmla="*/ 0 w 21705543"/>
              <a:gd name="connsiteY8" fmla="*/ 0 h 7463422"/>
              <a:gd name="connsiteX0" fmla="*/ 0 w 21705522"/>
              <a:gd name="connsiteY0" fmla="*/ 0 h 7463422"/>
              <a:gd name="connsiteX1" fmla="*/ 21705522 w 21705522"/>
              <a:gd name="connsiteY1" fmla="*/ 6301 h 7463422"/>
              <a:gd name="connsiteX2" fmla="*/ 21695527 w 21705522"/>
              <a:gd name="connsiteY2" fmla="*/ 6304127 h 7463422"/>
              <a:gd name="connsiteX3" fmla="*/ 20901236 w 21705522"/>
              <a:gd name="connsiteY3" fmla="*/ 6689112 h 7463422"/>
              <a:gd name="connsiteX4" fmla="*/ 4221199 w 21705522"/>
              <a:gd name="connsiteY4" fmla="*/ 6664944 h 7463422"/>
              <a:gd name="connsiteX5" fmla="*/ 3077997 w 21705522"/>
              <a:gd name="connsiteY5" fmla="*/ 7463422 h 7463422"/>
              <a:gd name="connsiteX6" fmla="*/ 1903643 w 21705522"/>
              <a:gd name="connsiteY6" fmla="*/ 6664944 h 7463422"/>
              <a:gd name="connsiteX7" fmla="*/ 1355 w 21705522"/>
              <a:gd name="connsiteY7" fmla="*/ 6664944 h 7463422"/>
              <a:gd name="connsiteX8" fmla="*/ 0 w 21705522"/>
              <a:gd name="connsiteY8" fmla="*/ 0 h 7463422"/>
              <a:gd name="connsiteX0" fmla="*/ 0 w 21705522"/>
              <a:gd name="connsiteY0" fmla="*/ 0 h 7463422"/>
              <a:gd name="connsiteX1" fmla="*/ 21705522 w 21705522"/>
              <a:gd name="connsiteY1" fmla="*/ 6301 h 7463422"/>
              <a:gd name="connsiteX2" fmla="*/ 21695527 w 21705522"/>
              <a:gd name="connsiteY2" fmla="*/ 6304127 h 7463422"/>
              <a:gd name="connsiteX3" fmla="*/ 20901236 w 21705522"/>
              <a:gd name="connsiteY3" fmla="*/ 6689112 h 7463422"/>
              <a:gd name="connsiteX4" fmla="*/ 4221199 w 21705522"/>
              <a:gd name="connsiteY4" fmla="*/ 6664944 h 7463422"/>
              <a:gd name="connsiteX5" fmla="*/ 3077997 w 21705522"/>
              <a:gd name="connsiteY5" fmla="*/ 7463422 h 7463422"/>
              <a:gd name="connsiteX6" fmla="*/ 1903643 w 21705522"/>
              <a:gd name="connsiteY6" fmla="*/ 6664944 h 7463422"/>
              <a:gd name="connsiteX7" fmla="*/ 1355 w 21705522"/>
              <a:gd name="connsiteY7" fmla="*/ 6658402 h 7463422"/>
              <a:gd name="connsiteX8" fmla="*/ 0 w 21705522"/>
              <a:gd name="connsiteY8" fmla="*/ 0 h 7463422"/>
              <a:gd name="connsiteX0" fmla="*/ 0 w 21705522"/>
              <a:gd name="connsiteY0" fmla="*/ 0 h 7463422"/>
              <a:gd name="connsiteX1" fmla="*/ 21705522 w 21705522"/>
              <a:gd name="connsiteY1" fmla="*/ 6301 h 7463422"/>
              <a:gd name="connsiteX2" fmla="*/ 21695527 w 21705522"/>
              <a:gd name="connsiteY2" fmla="*/ 6304127 h 7463422"/>
              <a:gd name="connsiteX3" fmla="*/ 20901236 w 21705522"/>
              <a:gd name="connsiteY3" fmla="*/ 6689112 h 7463422"/>
              <a:gd name="connsiteX4" fmla="*/ 4221199 w 21705522"/>
              <a:gd name="connsiteY4" fmla="*/ 6664944 h 7463422"/>
              <a:gd name="connsiteX5" fmla="*/ 3077997 w 21705522"/>
              <a:gd name="connsiteY5" fmla="*/ 7463422 h 7463422"/>
              <a:gd name="connsiteX6" fmla="*/ 1903643 w 21705522"/>
              <a:gd name="connsiteY6" fmla="*/ 6664944 h 7463422"/>
              <a:gd name="connsiteX7" fmla="*/ 1355 w 21705522"/>
              <a:gd name="connsiteY7" fmla="*/ 6658402 h 7463422"/>
              <a:gd name="connsiteX8" fmla="*/ 0 w 21705522"/>
              <a:gd name="connsiteY8" fmla="*/ 0 h 7463422"/>
              <a:gd name="connsiteX0" fmla="*/ 0 w 21705522"/>
              <a:gd name="connsiteY0" fmla="*/ 0 h 7463422"/>
              <a:gd name="connsiteX1" fmla="*/ 21705522 w 21705522"/>
              <a:gd name="connsiteY1" fmla="*/ 6301 h 7463422"/>
              <a:gd name="connsiteX2" fmla="*/ 21695527 w 21705522"/>
              <a:gd name="connsiteY2" fmla="*/ 6304127 h 7463422"/>
              <a:gd name="connsiteX3" fmla="*/ 20901236 w 21705522"/>
              <a:gd name="connsiteY3" fmla="*/ 6689112 h 7463422"/>
              <a:gd name="connsiteX4" fmla="*/ 4221199 w 21705522"/>
              <a:gd name="connsiteY4" fmla="*/ 6664944 h 7463422"/>
              <a:gd name="connsiteX5" fmla="*/ 3077997 w 21705522"/>
              <a:gd name="connsiteY5" fmla="*/ 7463422 h 7463422"/>
              <a:gd name="connsiteX6" fmla="*/ 1903643 w 21705522"/>
              <a:gd name="connsiteY6" fmla="*/ 6664944 h 7463422"/>
              <a:gd name="connsiteX7" fmla="*/ 1355 w 21705522"/>
              <a:gd name="connsiteY7" fmla="*/ 6658402 h 7463422"/>
              <a:gd name="connsiteX8" fmla="*/ 0 w 21705522"/>
              <a:gd name="connsiteY8" fmla="*/ 0 h 7463422"/>
              <a:gd name="connsiteX0" fmla="*/ 0 w 21705522"/>
              <a:gd name="connsiteY0" fmla="*/ 0 h 7463422"/>
              <a:gd name="connsiteX1" fmla="*/ 21705522 w 21705522"/>
              <a:gd name="connsiteY1" fmla="*/ 6301 h 7463422"/>
              <a:gd name="connsiteX2" fmla="*/ 21695527 w 21705522"/>
              <a:gd name="connsiteY2" fmla="*/ 6304127 h 7463422"/>
              <a:gd name="connsiteX3" fmla="*/ 20901236 w 21705522"/>
              <a:gd name="connsiteY3" fmla="*/ 6689112 h 7463422"/>
              <a:gd name="connsiteX4" fmla="*/ 4221199 w 21705522"/>
              <a:gd name="connsiteY4" fmla="*/ 6664944 h 7463422"/>
              <a:gd name="connsiteX5" fmla="*/ 3077997 w 21705522"/>
              <a:gd name="connsiteY5" fmla="*/ 7463422 h 7463422"/>
              <a:gd name="connsiteX6" fmla="*/ 1903643 w 21705522"/>
              <a:gd name="connsiteY6" fmla="*/ 6664944 h 7463422"/>
              <a:gd name="connsiteX7" fmla="*/ 1355 w 21705522"/>
              <a:gd name="connsiteY7" fmla="*/ 6658402 h 7463422"/>
              <a:gd name="connsiteX8" fmla="*/ 0 w 21705522"/>
              <a:gd name="connsiteY8" fmla="*/ 0 h 7463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05522" h="7463422">
                <a:moveTo>
                  <a:pt x="0" y="0"/>
                </a:moveTo>
                <a:lnTo>
                  <a:pt x="21705522" y="6301"/>
                </a:lnTo>
                <a:cubicBezTo>
                  <a:pt x="21700524" y="3155214"/>
                  <a:pt x="21703313" y="5368611"/>
                  <a:pt x="21695527" y="6304127"/>
                </a:cubicBezTo>
                <a:cubicBezTo>
                  <a:pt x="21551428" y="6729018"/>
                  <a:pt x="21160998" y="6683169"/>
                  <a:pt x="20901236" y="6689112"/>
                </a:cubicBezTo>
                <a:lnTo>
                  <a:pt x="4221199" y="6664944"/>
                </a:lnTo>
                <a:cubicBezTo>
                  <a:pt x="3643985" y="6698086"/>
                  <a:pt x="3269606" y="7000600"/>
                  <a:pt x="3077997" y="7463422"/>
                </a:cubicBezTo>
                <a:cubicBezTo>
                  <a:pt x="2779643" y="6759645"/>
                  <a:pt x="2182283" y="6664066"/>
                  <a:pt x="1903643" y="6664944"/>
                </a:cubicBezTo>
                <a:lnTo>
                  <a:pt x="1355" y="6658402"/>
                </a:lnTo>
                <a:cubicBezTo>
                  <a:pt x="677" y="3329201"/>
                  <a:pt x="677" y="333247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nvGraphicFramePr>
        <p:xfrm>
          <a:off x="0" y="0"/>
          <a:ext cx="146538" cy="158750"/>
        </p:xfrm>
        <a:graphic>
          <a:graphicData uri="http://schemas.openxmlformats.org/presentationml/2006/ole">
            <p:oleObj spid="_x0000_s66190" name="think-cell Slide" r:id="rId36" imgW="360" imgH="360" progId="">
              <p:embed/>
            </p:oleObj>
          </a:graphicData>
        </a:graphic>
      </p:graphicFrame>
      <p:sp>
        <p:nvSpPr>
          <p:cNvPr id="2" name="Titre 1"/>
          <p:cNvSpPr>
            <a:spLocks noGrp="1"/>
          </p:cNvSpPr>
          <p:nvPr>
            <p:ph type="title" hasCustomPrompt="1"/>
            <p:custDataLst>
              <p:tags r:id="rId3"/>
            </p:custDataLst>
          </p:nvPr>
        </p:nvSpPr>
        <p:spPr>
          <a:xfrm>
            <a:off x="0" y="705190"/>
            <a:ext cx="9144000" cy="1143240"/>
          </a:xfrm>
          <a:prstGeom prst="rect">
            <a:avLst/>
          </a:prstGeom>
        </p:spPr>
        <p:txBody>
          <a:bodyPr lIns="330588" tIns="33059" rIns="33059" bIns="33059" anchor="ctr" anchorCtr="0"/>
          <a:lstStyle>
            <a:lvl1pPr algn="l">
              <a:defRPr sz="3600" b="0">
                <a:solidFill>
                  <a:schemeClr val="tx1"/>
                </a:solidFill>
                <a:latin typeface="Arial" pitchFamily="34" charset="0"/>
                <a:cs typeface="Arial" pitchFamily="34" charset="0"/>
              </a:defRPr>
            </a:lvl1pPr>
          </a:lstStyle>
          <a:p>
            <a:pPr lvl="0"/>
            <a:r>
              <a:rPr lang="en-US" noProof="0" dirty="0" smtClean="0"/>
              <a:t>Click to edit Master text style</a:t>
            </a:r>
          </a:p>
        </p:txBody>
      </p:sp>
      <p:sp>
        <p:nvSpPr>
          <p:cNvPr id="8" name="Text Placeholder 7"/>
          <p:cNvSpPr>
            <a:spLocks noGrp="1"/>
          </p:cNvSpPr>
          <p:nvPr>
            <p:ph type="body" sz="quarter" idx="10"/>
          </p:nvPr>
        </p:nvSpPr>
        <p:spPr>
          <a:xfrm>
            <a:off x="336550" y="1847850"/>
            <a:ext cx="7258050" cy="307777"/>
          </a:xfrm>
        </p:spPr>
        <p:txBody>
          <a:bodyPr/>
          <a:lstStyle>
            <a:lvl1pPr marL="0" indent="0">
              <a:buNone/>
              <a:defRPr sz="2000"/>
            </a:lvl1pPr>
            <a:lvl2pPr>
              <a:buNone/>
              <a:defRPr/>
            </a:lvl2pPr>
            <a:lvl3pPr>
              <a:buNone/>
              <a:defRPr/>
            </a:lvl3pPr>
            <a:lvl4pPr>
              <a:buNone/>
              <a:defRPr/>
            </a:lvl4pPr>
            <a:lvl5pPr>
              <a:buNone/>
              <a:defRPr/>
            </a:lvl5pPr>
          </a:lstStyle>
          <a:p>
            <a:pPr lvl="0"/>
            <a:r>
              <a:rPr lang="en-US" smtClean="0"/>
              <a:t>Click to edit Master text styles</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0" y="25263"/>
            <a:ext cx="8823960" cy="822960"/>
          </a:xfrm>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320040" y="1197735"/>
            <a:ext cx="4114800" cy="1384995"/>
          </a:xfrm>
        </p:spPr>
        <p:txBody>
          <a:bodyPr vert="horz" wrap="square" lIns="0" tIns="0" rIns="0" bIns="0" rtlCol="0">
            <a:spAutoFit/>
          </a:bodyPr>
          <a:lstStyle>
            <a:lvl1pPr marL="0" indent="0" algn="l" defTabSz="914400" rtl="0" eaLnBrk="1" fontAlgn="base" latinLnBrk="0" hangingPunct="1">
              <a:spcBef>
                <a:spcPct val="0"/>
              </a:spcBef>
              <a:spcAft>
                <a:spcPts val="600"/>
              </a:spcAft>
              <a:buClr>
                <a:schemeClr val="accent2"/>
              </a:buClr>
              <a:buNone/>
              <a:defRPr lang="en-US" sz="1600" b="1" kern="1200" dirty="0" smtClean="0">
                <a:solidFill>
                  <a:schemeClr val="tx1"/>
                </a:solidFill>
                <a:latin typeface="Arial" pitchFamily="34" charset="0"/>
                <a:ea typeface="+mn-ea"/>
                <a:cs typeface="Arial" pitchFamily="34" charset="0"/>
              </a:defRPr>
            </a:lvl1pPr>
            <a:lvl2pPr marL="231775" indent="-231775" algn="l" defTabSz="914400" rtl="0" eaLnBrk="1" fontAlgn="base" latinLnBrk="0" hangingPunct="1">
              <a:spcBef>
                <a:spcPct val="0"/>
              </a:spcBef>
              <a:spcAft>
                <a:spcPts val="600"/>
              </a:spcAft>
              <a:buClr>
                <a:schemeClr val="accent2"/>
              </a:buClr>
              <a:buFont typeface="Wingdings" pitchFamily="2" charset="2"/>
              <a:buChar char="§"/>
              <a:defRPr lang="en-US" sz="1600" b="0" kern="1200" dirty="0" smtClean="0">
                <a:solidFill>
                  <a:schemeClr val="tx1"/>
                </a:solidFill>
                <a:latin typeface="Arial" pitchFamily="34" charset="0"/>
                <a:ea typeface="+mn-ea"/>
                <a:cs typeface="Arial" pitchFamily="34" charset="0"/>
              </a:defRPr>
            </a:lvl2pPr>
            <a:lvl3pPr marL="460375" indent="-177800" algn="l" defTabSz="914400" rtl="0" eaLnBrk="1" fontAlgn="base" latinLnBrk="0" hangingPunct="1">
              <a:spcBef>
                <a:spcPct val="0"/>
              </a:spcBef>
              <a:spcAft>
                <a:spcPts val="600"/>
              </a:spcAft>
              <a:buClr>
                <a:schemeClr val="accent2"/>
              </a:buClr>
              <a:buFont typeface="Arial" pitchFamily="34" charset="0"/>
              <a:buChar char="–"/>
              <a:defRPr lang="en-US" sz="1400" b="0" kern="1200" dirty="0" smtClean="0">
                <a:solidFill>
                  <a:schemeClr val="tx1"/>
                </a:solidFill>
                <a:latin typeface="Arial" pitchFamily="34" charset="0"/>
                <a:ea typeface="+mn-ea"/>
                <a:cs typeface="Arial" pitchFamily="34" charset="0"/>
              </a:defRPr>
            </a:lvl3pPr>
            <a:lvl4pPr marL="631825" indent="-171450" algn="l" defTabSz="862013" rtl="0" eaLnBrk="1" fontAlgn="base" latinLnBrk="0" hangingPunct="1">
              <a:spcBef>
                <a:spcPct val="0"/>
              </a:spcBef>
              <a:spcAft>
                <a:spcPts val="600"/>
              </a:spcAft>
              <a:buClr>
                <a:schemeClr val="accent2"/>
              </a:buClr>
              <a:buFont typeface="Arial" pitchFamily="34" charset="0"/>
              <a:buChar char="•"/>
              <a:defRPr lang="en-US" sz="1200" b="0" kern="1200" dirty="0" smtClean="0">
                <a:solidFill>
                  <a:schemeClr val="tx1"/>
                </a:solidFill>
                <a:latin typeface="Arial" pitchFamily="34" charset="0"/>
                <a:ea typeface="+mn-ea"/>
                <a:cs typeface="Arial" pitchFamily="34" charset="0"/>
              </a:defRPr>
            </a:lvl4pPr>
            <a:lvl5pPr marL="803275" indent="-171450" algn="l" defTabSz="914400" rtl="0" eaLnBrk="1" fontAlgn="base" latinLnBrk="0" hangingPunct="1">
              <a:spcBef>
                <a:spcPct val="0"/>
              </a:spcBef>
              <a:spcAft>
                <a:spcPts val="600"/>
              </a:spcAft>
              <a:buClr>
                <a:schemeClr val="accent2"/>
              </a:buClr>
              <a:buFont typeface="Arial" pitchFamily="34" charset="0"/>
              <a:buChar char="–"/>
              <a:defRPr lang="en-US" sz="1200" b="0" kern="1200" dirty="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Content Placeholder 2"/>
          <p:cNvSpPr>
            <a:spLocks noGrp="1"/>
          </p:cNvSpPr>
          <p:nvPr>
            <p:ph sz="half" idx="12"/>
          </p:nvPr>
        </p:nvSpPr>
        <p:spPr>
          <a:xfrm>
            <a:off x="4709160" y="1197735"/>
            <a:ext cx="4114800" cy="1384995"/>
          </a:xfrm>
        </p:spPr>
        <p:txBody>
          <a:bodyPr vert="horz" wrap="square" lIns="0" tIns="0" rIns="0" bIns="0" rtlCol="0">
            <a:spAutoFit/>
          </a:bodyPr>
          <a:lstStyle>
            <a:lvl1pPr marL="0" indent="0" algn="l" defTabSz="914400" rtl="0" eaLnBrk="1" fontAlgn="base" latinLnBrk="0" hangingPunct="1">
              <a:spcBef>
                <a:spcPct val="0"/>
              </a:spcBef>
              <a:spcAft>
                <a:spcPts val="600"/>
              </a:spcAft>
              <a:buClr>
                <a:schemeClr val="accent2"/>
              </a:buClr>
              <a:buNone/>
              <a:defRPr lang="en-US" sz="1600" b="1" kern="1200" dirty="0" smtClean="0">
                <a:solidFill>
                  <a:schemeClr val="tx1"/>
                </a:solidFill>
                <a:latin typeface="Arial" pitchFamily="34" charset="0"/>
                <a:ea typeface="+mn-ea"/>
                <a:cs typeface="Arial" pitchFamily="34" charset="0"/>
              </a:defRPr>
            </a:lvl1pPr>
            <a:lvl2pPr marL="231775" indent="-231775" algn="l" defTabSz="914400" rtl="0" eaLnBrk="1" fontAlgn="base" latinLnBrk="0" hangingPunct="1">
              <a:spcBef>
                <a:spcPct val="0"/>
              </a:spcBef>
              <a:spcAft>
                <a:spcPts val="600"/>
              </a:spcAft>
              <a:buClr>
                <a:schemeClr val="accent2"/>
              </a:buClr>
              <a:buFont typeface="Wingdings" pitchFamily="2" charset="2"/>
              <a:buChar char="§"/>
              <a:defRPr lang="en-US" sz="1600" b="0" kern="1200" dirty="0" smtClean="0">
                <a:solidFill>
                  <a:schemeClr val="tx1"/>
                </a:solidFill>
                <a:latin typeface="Arial" pitchFamily="34" charset="0"/>
                <a:ea typeface="+mn-ea"/>
                <a:cs typeface="Arial" pitchFamily="34" charset="0"/>
              </a:defRPr>
            </a:lvl2pPr>
            <a:lvl3pPr marL="460375" indent="-177800" algn="l" defTabSz="914400" rtl="0" eaLnBrk="1" fontAlgn="base" latinLnBrk="0" hangingPunct="1">
              <a:spcBef>
                <a:spcPct val="0"/>
              </a:spcBef>
              <a:spcAft>
                <a:spcPts val="600"/>
              </a:spcAft>
              <a:buClr>
                <a:schemeClr val="accent2"/>
              </a:buClr>
              <a:buFont typeface="Arial" pitchFamily="34" charset="0"/>
              <a:buChar char="–"/>
              <a:defRPr lang="en-US" sz="1400" b="0" kern="1200" dirty="0" smtClean="0">
                <a:solidFill>
                  <a:schemeClr val="tx1"/>
                </a:solidFill>
                <a:latin typeface="Arial" pitchFamily="34" charset="0"/>
                <a:ea typeface="+mn-ea"/>
                <a:cs typeface="Arial" pitchFamily="34" charset="0"/>
              </a:defRPr>
            </a:lvl3pPr>
            <a:lvl4pPr marL="631825" indent="-171450" algn="l" defTabSz="862013" rtl="0" eaLnBrk="1" fontAlgn="base" latinLnBrk="0" hangingPunct="1">
              <a:spcBef>
                <a:spcPct val="0"/>
              </a:spcBef>
              <a:spcAft>
                <a:spcPts val="600"/>
              </a:spcAft>
              <a:buClr>
                <a:schemeClr val="accent2"/>
              </a:buClr>
              <a:buFont typeface="Arial" pitchFamily="34" charset="0"/>
              <a:buChar char="•"/>
              <a:defRPr lang="en-US" sz="1200" b="0" kern="1200" dirty="0" smtClean="0">
                <a:solidFill>
                  <a:schemeClr val="tx1"/>
                </a:solidFill>
                <a:latin typeface="Arial" pitchFamily="34" charset="0"/>
                <a:ea typeface="+mn-ea"/>
                <a:cs typeface="Arial" pitchFamily="34" charset="0"/>
              </a:defRPr>
            </a:lvl4pPr>
            <a:lvl5pPr marL="803275" indent="-171450" algn="l" defTabSz="914400" rtl="0" eaLnBrk="1" fontAlgn="base" latinLnBrk="0" hangingPunct="1">
              <a:spcBef>
                <a:spcPct val="0"/>
              </a:spcBef>
              <a:spcAft>
                <a:spcPts val="600"/>
              </a:spcAft>
              <a:buClr>
                <a:schemeClr val="accent2"/>
              </a:buClr>
              <a:buFont typeface="Arial" pitchFamily="34" charset="0"/>
              <a:buChar char="–"/>
              <a:defRPr lang="en-US" sz="1200" b="0" kern="1200" dirty="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320040" y="2026014"/>
            <a:ext cx="4114800" cy="3417862"/>
          </a:xfrm>
          <a:solidFill>
            <a:schemeClr val="bg1"/>
          </a:solidFill>
          <a:ln w="12700" algn="ctr">
            <a:solidFill>
              <a:schemeClr val="accent2"/>
            </a:solidFill>
            <a:miter lim="800000"/>
            <a:headEnd/>
            <a:tailEnd/>
          </a:ln>
          <a:effectLst/>
        </p:spPr>
        <p:txBody>
          <a:bodyPr vert="horz" wrap="square" lIns="91440" tIns="45720" rIns="91440" bIns="45720" numCol="1" rtlCol="0" anchor="t" anchorCtr="0" compatLnSpc="1">
            <a:prstTxWarp prst="textNoShape">
              <a:avLst/>
            </a:prstTxWarp>
            <a:noAutofit/>
          </a:bodyPr>
          <a:lstStyle>
            <a:lvl1pPr algn="l" rtl="0" eaLnBrk="1" fontAlgn="base" latinLnBrk="0" hangingPunct="1">
              <a:spcBef>
                <a:spcPct val="0"/>
              </a:spcBef>
              <a:spcAft>
                <a:spcPct val="50000"/>
              </a:spcAft>
              <a:buClr>
                <a:schemeClr val="accent2"/>
              </a:buClr>
              <a:defRPr lang="en-US" sz="1400" b="1" kern="1200" dirty="0" smtClean="0">
                <a:solidFill>
                  <a:schemeClr val="tx1"/>
                </a:solidFill>
                <a:latin typeface="Arial" pitchFamily="34" charset="0"/>
                <a:ea typeface="+mn-ea"/>
                <a:cs typeface="Arial" pitchFamily="34" charset="0"/>
              </a:defRPr>
            </a:lvl1pPr>
            <a:lvl2pPr algn="l" rtl="0" eaLnBrk="1" fontAlgn="base" latinLnBrk="0" hangingPunct="1">
              <a:spcBef>
                <a:spcPct val="0"/>
              </a:spcBef>
              <a:spcAft>
                <a:spcPct val="50000"/>
              </a:spcAft>
              <a:buClr>
                <a:schemeClr val="accent2"/>
              </a:buClr>
              <a:defRPr lang="en-US" sz="1200" b="0" kern="1200" dirty="0" smtClean="0">
                <a:solidFill>
                  <a:schemeClr val="tx1"/>
                </a:solidFill>
                <a:latin typeface="Arial" pitchFamily="34" charset="0"/>
                <a:ea typeface="+mn-ea"/>
                <a:cs typeface="Arial" pitchFamily="34" charset="0"/>
              </a:defRPr>
            </a:lvl2pPr>
            <a:lvl3pPr marL="460375" indent="-228600" algn="l" rtl="0" eaLnBrk="1" fontAlgn="base" latinLnBrk="0" hangingPunct="1">
              <a:spcBef>
                <a:spcPct val="0"/>
              </a:spcBef>
              <a:spcAft>
                <a:spcPct val="50000"/>
              </a:spcAft>
              <a:buClr>
                <a:schemeClr val="accent2"/>
              </a:buClr>
              <a:defRPr lang="en-US" sz="1100" b="0" kern="1200" dirty="0" smtClean="0">
                <a:solidFill>
                  <a:schemeClr val="tx1"/>
                </a:solidFill>
                <a:latin typeface="Arial" pitchFamily="34" charset="0"/>
                <a:ea typeface="+mn-ea"/>
                <a:cs typeface="Arial" pitchFamily="34" charset="0"/>
              </a:defRPr>
            </a:lvl3pPr>
            <a:lvl4pPr marL="685800" indent="-228600" algn="l" rtl="0" eaLnBrk="1" fontAlgn="base" latinLnBrk="0" hangingPunct="1">
              <a:spcBef>
                <a:spcPct val="0"/>
              </a:spcBef>
              <a:spcAft>
                <a:spcPct val="50000"/>
              </a:spcAft>
              <a:buClr>
                <a:schemeClr val="accent2"/>
              </a:buClr>
              <a:defRPr lang="en-US" sz="1050" b="0" kern="1200" dirty="0" smtClean="0">
                <a:solidFill>
                  <a:schemeClr val="tx1"/>
                </a:solidFill>
                <a:latin typeface="Arial" pitchFamily="34" charset="0"/>
                <a:ea typeface="+mn-ea"/>
                <a:cs typeface="Arial" pitchFamily="34" charset="0"/>
              </a:defRPr>
            </a:lvl4pPr>
            <a:lvl5pPr marL="911225" indent="-228600" algn="l" rtl="0" eaLnBrk="1" fontAlgn="base" latinLnBrk="0" hangingPunct="1">
              <a:spcBef>
                <a:spcPct val="0"/>
              </a:spcBef>
              <a:spcAft>
                <a:spcPct val="50000"/>
              </a:spcAft>
              <a:buClr>
                <a:schemeClr val="accent2"/>
              </a:buClr>
              <a:defRPr lang="en-US" sz="1050" b="0" kern="1200" dirty="0" smtClean="0">
                <a:solidFill>
                  <a:schemeClr val="tx1"/>
                </a:solidFill>
                <a:latin typeface="Arial" pitchFamily="34" charset="0"/>
                <a:ea typeface="+mn-ea"/>
                <a:cs typeface="Arial" pitchFamily="34" charset="0"/>
              </a:defRPr>
            </a:lvl5pPr>
            <a:lvl6pPr>
              <a:defRPr sz="1600"/>
            </a:lvl6pPr>
            <a:lvl7pPr>
              <a:defRPr sz="1600"/>
            </a:lvl7pPr>
            <a:lvl8pPr>
              <a:defRPr sz="1600"/>
            </a:lvl8pPr>
            <a:lvl9pPr>
              <a:defRPr sz="1600"/>
            </a:lvl9pPr>
          </a:lstStyle>
          <a:p>
            <a:pPr marL="0" lvl="0" indent="0" algn="l" defTabSz="914400" rtl="0" eaLnBrk="1" fontAlgn="base" latinLnBrk="0" hangingPunct="1">
              <a:spcBef>
                <a:spcPct val="0"/>
              </a:spcBef>
              <a:spcAft>
                <a:spcPct val="50000"/>
              </a:spcAft>
              <a:buClr>
                <a:schemeClr val="accent2"/>
              </a:buClr>
              <a:buFont typeface="Arial" pitchFamily="34" charset="0"/>
              <a:buNone/>
            </a:pPr>
            <a:r>
              <a:rPr lang="en-US" smtClean="0"/>
              <a:t>Click to edit Master text styles</a:t>
            </a:r>
          </a:p>
          <a:p>
            <a:pPr marL="0" lvl="1" indent="0" algn="l" defTabSz="914400" rtl="0" eaLnBrk="1" fontAlgn="base" latinLnBrk="0" hangingPunct="1">
              <a:spcBef>
                <a:spcPct val="0"/>
              </a:spcBef>
              <a:spcAft>
                <a:spcPct val="50000"/>
              </a:spcAft>
              <a:buClr>
                <a:schemeClr val="accent2"/>
              </a:buClr>
              <a:buFont typeface="Arial" pitchFamily="34" charset="0"/>
              <a:buNone/>
            </a:pPr>
            <a:r>
              <a:rPr lang="en-US" smtClean="0"/>
              <a:t>Second level</a:t>
            </a:r>
          </a:p>
          <a:p>
            <a:pPr marL="0" lvl="2" indent="0" algn="l" defTabSz="914400" rtl="0" eaLnBrk="1" fontAlgn="base" latinLnBrk="0" hangingPunct="1">
              <a:spcBef>
                <a:spcPct val="0"/>
              </a:spcBef>
              <a:spcAft>
                <a:spcPct val="50000"/>
              </a:spcAft>
              <a:buClr>
                <a:schemeClr val="accent2"/>
              </a:buClr>
              <a:buFont typeface="Arial" pitchFamily="34" charset="0"/>
              <a:buNone/>
            </a:pPr>
            <a:r>
              <a:rPr lang="en-US" smtClean="0"/>
              <a:t>Third level</a:t>
            </a:r>
          </a:p>
          <a:p>
            <a:pPr marL="0" lvl="3" indent="0" algn="l" defTabSz="914400" rtl="0" eaLnBrk="1" fontAlgn="base" latinLnBrk="0" hangingPunct="1">
              <a:spcBef>
                <a:spcPct val="0"/>
              </a:spcBef>
              <a:spcAft>
                <a:spcPct val="50000"/>
              </a:spcAft>
              <a:buClr>
                <a:schemeClr val="accent2"/>
              </a:buClr>
              <a:buFont typeface="Arial" pitchFamily="34" charset="0"/>
              <a:buNone/>
            </a:pPr>
            <a:r>
              <a:rPr lang="en-US" smtClean="0"/>
              <a:t>Fourth level</a:t>
            </a:r>
          </a:p>
          <a:p>
            <a:pPr marL="0" lvl="4" indent="0" algn="l" defTabSz="914400" rtl="0" eaLnBrk="1" fontAlgn="base" latinLnBrk="0" hangingPunct="1">
              <a:spcBef>
                <a:spcPct val="0"/>
              </a:spcBef>
              <a:spcAft>
                <a:spcPct val="50000"/>
              </a:spcAft>
              <a:buClr>
                <a:schemeClr val="accent2"/>
              </a:buClr>
              <a:buFont typeface="Arial" pitchFamily="34" charset="0"/>
              <a:buNone/>
            </a:pPr>
            <a:r>
              <a:rPr lang="en-US" smtClean="0"/>
              <a:t>Fifth level</a:t>
            </a:r>
            <a:endParaRPr lang="en-US" dirty="0"/>
          </a:p>
        </p:txBody>
      </p:sp>
      <p:sp>
        <p:nvSpPr>
          <p:cNvPr id="6" name="Content Placeholder 5"/>
          <p:cNvSpPr>
            <a:spLocks noGrp="1"/>
          </p:cNvSpPr>
          <p:nvPr>
            <p:ph sz="quarter" idx="4"/>
          </p:nvPr>
        </p:nvSpPr>
        <p:spPr>
          <a:xfrm>
            <a:off x="4709160" y="2026014"/>
            <a:ext cx="4114800" cy="3417862"/>
          </a:xfrm>
          <a:solidFill>
            <a:schemeClr val="bg1"/>
          </a:solidFill>
          <a:ln w="12700" algn="ctr">
            <a:solidFill>
              <a:schemeClr val="accent2"/>
            </a:solidFill>
            <a:miter lim="800000"/>
            <a:headEnd/>
            <a:tailEnd/>
          </a:ln>
          <a:effectLst/>
        </p:spPr>
        <p:txBody>
          <a:bodyPr vert="horz" wrap="square" lIns="91440" tIns="45720" rIns="91440" bIns="45720" numCol="1" rtlCol="0" anchor="t" anchorCtr="0" compatLnSpc="1">
            <a:prstTxWarp prst="textNoShape">
              <a:avLst/>
            </a:prstTxWarp>
            <a:noAutofit/>
          </a:bodyPr>
          <a:lstStyle>
            <a:lvl1pPr algn="l" rtl="0" eaLnBrk="1" fontAlgn="base" latinLnBrk="0" hangingPunct="1">
              <a:spcBef>
                <a:spcPct val="0"/>
              </a:spcBef>
              <a:spcAft>
                <a:spcPct val="50000"/>
              </a:spcAft>
              <a:buClr>
                <a:schemeClr val="accent2"/>
              </a:buClr>
              <a:defRPr lang="en-US" sz="1400" b="1" kern="1200" dirty="0" smtClean="0">
                <a:solidFill>
                  <a:schemeClr val="tx1"/>
                </a:solidFill>
                <a:latin typeface="Arial" pitchFamily="34" charset="0"/>
                <a:ea typeface="+mn-ea"/>
                <a:cs typeface="Arial" pitchFamily="34" charset="0"/>
              </a:defRPr>
            </a:lvl1pPr>
            <a:lvl2pPr algn="l" rtl="0" eaLnBrk="1" fontAlgn="base" latinLnBrk="0" hangingPunct="1">
              <a:spcBef>
                <a:spcPct val="0"/>
              </a:spcBef>
              <a:spcAft>
                <a:spcPct val="50000"/>
              </a:spcAft>
              <a:buClr>
                <a:schemeClr val="accent2"/>
              </a:buClr>
              <a:defRPr lang="en-US" sz="1200" b="0" kern="1200" dirty="0" smtClean="0">
                <a:solidFill>
                  <a:schemeClr val="tx1"/>
                </a:solidFill>
                <a:latin typeface="Arial" pitchFamily="34" charset="0"/>
                <a:ea typeface="+mn-ea"/>
                <a:cs typeface="Arial" pitchFamily="34" charset="0"/>
              </a:defRPr>
            </a:lvl2pPr>
            <a:lvl3pPr marL="460375" indent="-228600" algn="l" rtl="0" eaLnBrk="1" fontAlgn="base" latinLnBrk="0" hangingPunct="1">
              <a:spcBef>
                <a:spcPct val="0"/>
              </a:spcBef>
              <a:spcAft>
                <a:spcPct val="50000"/>
              </a:spcAft>
              <a:buClr>
                <a:schemeClr val="accent2"/>
              </a:buClr>
              <a:defRPr lang="en-US" sz="1100" b="0" kern="1200" dirty="0" smtClean="0">
                <a:solidFill>
                  <a:schemeClr val="tx1"/>
                </a:solidFill>
                <a:latin typeface="Arial" pitchFamily="34" charset="0"/>
                <a:ea typeface="+mn-ea"/>
                <a:cs typeface="Arial" pitchFamily="34" charset="0"/>
              </a:defRPr>
            </a:lvl3pPr>
            <a:lvl4pPr marL="685800" indent="-228600" algn="l" rtl="0" eaLnBrk="1" fontAlgn="base" latinLnBrk="0" hangingPunct="1">
              <a:spcBef>
                <a:spcPct val="0"/>
              </a:spcBef>
              <a:spcAft>
                <a:spcPct val="50000"/>
              </a:spcAft>
              <a:buClr>
                <a:schemeClr val="accent2"/>
              </a:buClr>
              <a:defRPr lang="en-US" sz="1050" b="0" kern="1200" dirty="0" smtClean="0">
                <a:solidFill>
                  <a:schemeClr val="tx1"/>
                </a:solidFill>
                <a:latin typeface="Arial" pitchFamily="34" charset="0"/>
                <a:ea typeface="+mn-ea"/>
                <a:cs typeface="Arial" pitchFamily="34" charset="0"/>
              </a:defRPr>
            </a:lvl4pPr>
            <a:lvl5pPr marL="911225" indent="-228600" algn="l" rtl="0" eaLnBrk="1" fontAlgn="base" latinLnBrk="0" hangingPunct="1">
              <a:spcBef>
                <a:spcPct val="0"/>
              </a:spcBef>
              <a:spcAft>
                <a:spcPct val="50000"/>
              </a:spcAft>
              <a:buClr>
                <a:schemeClr val="accent2"/>
              </a:buClr>
              <a:defRPr lang="en-US" sz="1050" b="0" kern="1200" dirty="0" smtClean="0">
                <a:solidFill>
                  <a:schemeClr val="tx1"/>
                </a:solidFill>
                <a:latin typeface="Arial" pitchFamily="34" charset="0"/>
                <a:ea typeface="+mn-ea"/>
                <a:cs typeface="Arial" pitchFamily="34" charset="0"/>
              </a:defRPr>
            </a:lvl5pPr>
            <a:lvl6pPr>
              <a:defRPr sz="1600"/>
            </a:lvl6pPr>
            <a:lvl7pPr>
              <a:defRPr sz="1600"/>
            </a:lvl7pPr>
            <a:lvl8pPr>
              <a:defRPr sz="1600"/>
            </a:lvl8pPr>
            <a:lvl9pPr>
              <a:defRPr sz="1600"/>
            </a:lvl9pPr>
          </a:lstStyle>
          <a:p>
            <a:pPr marL="0" lvl="0" indent="0" algn="l" defTabSz="914400" rtl="0" eaLnBrk="1" fontAlgn="base" latinLnBrk="0" hangingPunct="1">
              <a:spcBef>
                <a:spcPct val="0"/>
              </a:spcBef>
              <a:spcAft>
                <a:spcPct val="50000"/>
              </a:spcAft>
              <a:buClr>
                <a:schemeClr val="accent2"/>
              </a:buClr>
              <a:buFont typeface="Arial" pitchFamily="34" charset="0"/>
              <a:buNone/>
            </a:pPr>
            <a:r>
              <a:rPr lang="en-US" smtClean="0"/>
              <a:t>Click to edit Master text styles</a:t>
            </a:r>
          </a:p>
          <a:p>
            <a:pPr marL="0" lvl="1" indent="0" algn="l" defTabSz="914400" rtl="0" eaLnBrk="1" fontAlgn="base" latinLnBrk="0" hangingPunct="1">
              <a:spcBef>
                <a:spcPct val="0"/>
              </a:spcBef>
              <a:spcAft>
                <a:spcPct val="50000"/>
              </a:spcAft>
              <a:buClr>
                <a:schemeClr val="accent2"/>
              </a:buClr>
              <a:buFont typeface="Arial" pitchFamily="34" charset="0"/>
              <a:buNone/>
            </a:pPr>
            <a:r>
              <a:rPr lang="en-US" smtClean="0"/>
              <a:t>Second level</a:t>
            </a:r>
          </a:p>
          <a:p>
            <a:pPr marL="0" lvl="2" indent="0" algn="l" defTabSz="914400" rtl="0" eaLnBrk="1" fontAlgn="base" latinLnBrk="0" hangingPunct="1">
              <a:spcBef>
                <a:spcPct val="0"/>
              </a:spcBef>
              <a:spcAft>
                <a:spcPct val="50000"/>
              </a:spcAft>
              <a:buClr>
                <a:schemeClr val="accent2"/>
              </a:buClr>
              <a:buFont typeface="Arial" pitchFamily="34" charset="0"/>
              <a:buNone/>
            </a:pPr>
            <a:r>
              <a:rPr lang="en-US" smtClean="0"/>
              <a:t>Third level</a:t>
            </a:r>
          </a:p>
          <a:p>
            <a:pPr marL="0" lvl="3" indent="0" algn="l" defTabSz="914400" rtl="0" eaLnBrk="1" fontAlgn="base" latinLnBrk="0" hangingPunct="1">
              <a:spcBef>
                <a:spcPct val="0"/>
              </a:spcBef>
              <a:spcAft>
                <a:spcPct val="50000"/>
              </a:spcAft>
              <a:buClr>
                <a:schemeClr val="accent2"/>
              </a:buClr>
              <a:buFont typeface="Arial" pitchFamily="34" charset="0"/>
              <a:buNone/>
            </a:pPr>
            <a:r>
              <a:rPr lang="en-US" smtClean="0"/>
              <a:t>Fourth level</a:t>
            </a:r>
          </a:p>
          <a:p>
            <a:pPr marL="0" lvl="4" indent="0" algn="l" defTabSz="914400" rtl="0" eaLnBrk="1" fontAlgn="base" latinLnBrk="0" hangingPunct="1">
              <a:spcBef>
                <a:spcPct val="0"/>
              </a:spcBef>
              <a:spcAft>
                <a:spcPct val="50000"/>
              </a:spcAft>
              <a:buClr>
                <a:schemeClr val="accent2"/>
              </a:buClr>
              <a:buFont typeface="Arial" pitchFamily="34" charset="0"/>
              <a:buNone/>
            </a:pPr>
            <a:r>
              <a:rPr lang="en-US" smtClean="0"/>
              <a:t>Fifth level</a:t>
            </a:r>
            <a:endParaRPr lang="en-US" dirty="0"/>
          </a:p>
        </p:txBody>
      </p:sp>
      <p:sp>
        <p:nvSpPr>
          <p:cNvPr id="2" name="Title 1"/>
          <p:cNvSpPr>
            <a:spLocks noGrp="1"/>
          </p:cNvSpPr>
          <p:nvPr>
            <p:ph type="title"/>
          </p:nvPr>
        </p:nvSpPr>
        <p:spPr>
          <a:xfrm>
            <a:off x="0" y="25263"/>
            <a:ext cx="8823960" cy="822960"/>
          </a:xfrm>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320040" y="1471315"/>
            <a:ext cx="4114800" cy="548640"/>
          </a:xfrm>
          <a:gradFill flip="none" rotWithShape="1">
            <a:gsLst>
              <a:gs pos="75000">
                <a:schemeClr val="accent2"/>
              </a:gs>
              <a:gs pos="100000">
                <a:schemeClr val="accent4"/>
              </a:gs>
            </a:gsLst>
            <a:lin ang="16200000" scaled="1"/>
            <a:tileRect/>
          </a:gradFill>
          <a:ln w="12700">
            <a:solidFill>
              <a:schemeClr val="accent2"/>
            </a:solidFill>
          </a:ln>
        </p:spPr>
        <p:txBody>
          <a:bodyPr lIns="91440" tIns="91440" rIns="91440" bIns="91440" anchor="ctr" anchorCtr="0">
            <a:noAutofit/>
          </a:bodyPr>
          <a:lstStyle>
            <a:lvl1pPr marL="0" indent="0" algn="ctr">
              <a:buNone/>
              <a:defRPr sz="1400" b="1">
                <a:solidFill>
                  <a:schemeClr val="bg1"/>
                </a:solidFill>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5" name="Text Placeholder 4"/>
          <p:cNvSpPr>
            <a:spLocks noGrp="1"/>
          </p:cNvSpPr>
          <p:nvPr>
            <p:ph type="body" sz="quarter" idx="3"/>
          </p:nvPr>
        </p:nvSpPr>
        <p:spPr>
          <a:xfrm>
            <a:off x="4709160" y="1471315"/>
            <a:ext cx="4114800" cy="548640"/>
          </a:xfrm>
          <a:gradFill flip="none" rotWithShape="1">
            <a:gsLst>
              <a:gs pos="75000">
                <a:schemeClr val="accent2"/>
              </a:gs>
              <a:gs pos="100000">
                <a:schemeClr val="accent4"/>
              </a:gs>
            </a:gsLst>
            <a:lin ang="16200000" scaled="1"/>
            <a:tileRect/>
          </a:gradFill>
          <a:ln w="12700">
            <a:solidFill>
              <a:schemeClr val="accent2"/>
            </a:solidFill>
          </a:ln>
        </p:spPr>
        <p:txBody>
          <a:bodyPr lIns="91440" tIns="91440" rIns="91440" bIns="91440" anchor="ctr" anchorCtr="0">
            <a:noAutofit/>
          </a:bodyPr>
          <a:lstStyle>
            <a:lvl1pPr marL="0" indent="0" algn="ctr">
              <a:buNone/>
              <a:defRPr sz="1400" b="1">
                <a:solidFill>
                  <a:schemeClr val="bg1"/>
                </a:solidFill>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image" Target="../media/image2.jpe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5.xml"/><Relationship Id="rId13" Type="http://schemas.openxmlformats.org/officeDocument/2006/relationships/tags" Target="../tags/tag30.xml"/><Relationship Id="rId18" Type="http://schemas.openxmlformats.org/officeDocument/2006/relationships/hyperlink" Target="http://www.facebook.com/Capgemini" TargetMode="External"/><Relationship Id="rId26" Type="http://schemas.openxmlformats.org/officeDocument/2006/relationships/hyperlink" Target="http://www.slideshare.net/capgemini" TargetMode="External"/><Relationship Id="rId3" Type="http://schemas.openxmlformats.org/officeDocument/2006/relationships/slideLayout" Target="../slideLayouts/slideLayout19.xml"/><Relationship Id="rId21" Type="http://schemas.openxmlformats.org/officeDocument/2006/relationships/image" Target="../media/image37.png"/><Relationship Id="rId7" Type="http://schemas.openxmlformats.org/officeDocument/2006/relationships/tags" Target="../tags/tag24.xml"/><Relationship Id="rId12" Type="http://schemas.openxmlformats.org/officeDocument/2006/relationships/tags" Target="../tags/tag29.xml"/><Relationship Id="rId17" Type="http://schemas.openxmlformats.org/officeDocument/2006/relationships/image" Target="../media/image5.emf"/><Relationship Id="rId25" Type="http://schemas.openxmlformats.org/officeDocument/2006/relationships/image" Target="../media/image39.png"/><Relationship Id="rId2" Type="http://schemas.openxmlformats.org/officeDocument/2006/relationships/slideLayout" Target="../slideLayouts/slideLayout18.xml"/><Relationship Id="rId16" Type="http://schemas.openxmlformats.org/officeDocument/2006/relationships/oleObject" Target="../embeddings/oleObject4.bin"/><Relationship Id="rId20" Type="http://schemas.openxmlformats.org/officeDocument/2006/relationships/hyperlink" Target="http://www.linkedin.com/company/capgemini" TargetMode="External"/><Relationship Id="rId1" Type="http://schemas.openxmlformats.org/officeDocument/2006/relationships/slideLayout" Target="../slideLayouts/slideLayout17.xml"/><Relationship Id="rId6" Type="http://schemas.openxmlformats.org/officeDocument/2006/relationships/tags" Target="../tags/tag23.xml"/><Relationship Id="rId11" Type="http://schemas.openxmlformats.org/officeDocument/2006/relationships/tags" Target="../tags/tag28.xml"/><Relationship Id="rId24" Type="http://schemas.openxmlformats.org/officeDocument/2006/relationships/hyperlink" Target="http://www.youtube.com/capgemini" TargetMode="External"/><Relationship Id="rId5" Type="http://schemas.openxmlformats.org/officeDocument/2006/relationships/vmlDrawing" Target="../drawings/vmlDrawing4.vml"/><Relationship Id="rId15" Type="http://schemas.openxmlformats.org/officeDocument/2006/relationships/image" Target="../media/image35.jpeg"/><Relationship Id="rId23" Type="http://schemas.openxmlformats.org/officeDocument/2006/relationships/image" Target="../media/image38.png"/><Relationship Id="rId10" Type="http://schemas.openxmlformats.org/officeDocument/2006/relationships/tags" Target="../tags/tag27.xml"/><Relationship Id="rId19" Type="http://schemas.openxmlformats.org/officeDocument/2006/relationships/image" Target="../media/image36.png"/><Relationship Id="rId4" Type="http://schemas.openxmlformats.org/officeDocument/2006/relationships/theme" Target="../theme/theme2.xml"/><Relationship Id="rId9" Type="http://schemas.openxmlformats.org/officeDocument/2006/relationships/tags" Target="../tags/tag26.xml"/><Relationship Id="rId14" Type="http://schemas.openxmlformats.org/officeDocument/2006/relationships/tags" Target="../tags/tag31.xml"/><Relationship Id="rId22" Type="http://schemas.openxmlformats.org/officeDocument/2006/relationships/hyperlink" Target="http://www.twitter.com/capgemini" TargetMode="External"/><Relationship Id="rId27" Type="http://schemas.openxmlformats.org/officeDocument/2006/relationships/image" Target="../media/image40.gi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 y="25263"/>
            <a:ext cx="8823957" cy="822960"/>
          </a:xfrm>
          <a:prstGeom prst="rect">
            <a:avLst/>
          </a:prstGeom>
          <a:noFill/>
          <a:ln w="9525" algn="ctr">
            <a:noFill/>
            <a:miter lim="800000"/>
            <a:headEnd/>
            <a:tailEnd/>
          </a:ln>
          <a:effectLst/>
        </p:spPr>
        <p:txBody>
          <a:bodyPr vert="horz" wrap="square" lIns="274320" tIns="36576" rIns="0" bIns="0" numCol="1" anchor="ctr" anchorCtr="0" compatLnSpc="1">
            <a:prstTxWarp prst="textNoShape">
              <a:avLst/>
            </a:prstTxWarp>
          </a:bodyPr>
          <a:lstStyle/>
          <a:p>
            <a:r>
              <a:rPr lang="en-US" smtClean="0"/>
              <a:t>Click to edit Master title style</a:t>
            </a:r>
            <a:endParaRPr lang="en-US" dirty="0"/>
          </a:p>
        </p:txBody>
      </p:sp>
      <p:sp>
        <p:nvSpPr>
          <p:cNvPr id="3" name="Text Placeholder 2"/>
          <p:cNvSpPr>
            <a:spLocks noGrp="1"/>
          </p:cNvSpPr>
          <p:nvPr>
            <p:ph type="body" idx="1"/>
          </p:nvPr>
        </p:nvSpPr>
        <p:spPr>
          <a:xfrm>
            <a:off x="320040" y="1234215"/>
            <a:ext cx="8503920" cy="1384995"/>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p>
            <a:pPr marL="233363" lvl="0" indent="-233363" algn="l" defTabSz="914400" rtl="0" eaLnBrk="1" fontAlgn="base" latinLnBrk="0" hangingPunct="1">
              <a:spcBef>
                <a:spcPct val="0"/>
              </a:spcBef>
              <a:spcAft>
                <a:spcPts val="600"/>
              </a:spcAft>
              <a:buClr>
                <a:schemeClr val="accent2"/>
              </a:buClr>
              <a:buFont typeface="Wingdings" pitchFamily="2" charset="2"/>
              <a:buChar char="§"/>
            </a:pPr>
            <a:r>
              <a:rPr lang="en-US" smtClean="0"/>
              <a:t>Click to edit Master text styles</a:t>
            </a:r>
          </a:p>
          <a:p>
            <a:pPr marL="233363" lvl="1" indent="-233363" algn="l" defTabSz="914400" rtl="0" eaLnBrk="1" fontAlgn="base" latinLnBrk="0" hangingPunct="1">
              <a:spcBef>
                <a:spcPct val="0"/>
              </a:spcBef>
              <a:spcAft>
                <a:spcPts val="600"/>
              </a:spcAft>
              <a:buClr>
                <a:schemeClr val="accent2"/>
              </a:buClr>
              <a:buFont typeface="Wingdings" pitchFamily="2" charset="2"/>
              <a:buChar char="§"/>
            </a:pPr>
            <a:r>
              <a:rPr lang="en-US" smtClean="0"/>
              <a:t>Second level</a:t>
            </a:r>
          </a:p>
          <a:p>
            <a:pPr marL="233363" lvl="2" indent="-233363" algn="l" defTabSz="914400" rtl="0" eaLnBrk="1" fontAlgn="base" latinLnBrk="0" hangingPunct="1">
              <a:spcBef>
                <a:spcPct val="0"/>
              </a:spcBef>
              <a:spcAft>
                <a:spcPts val="600"/>
              </a:spcAft>
              <a:buClr>
                <a:schemeClr val="accent2"/>
              </a:buClr>
              <a:buFont typeface="Wingdings" pitchFamily="2" charset="2"/>
              <a:buChar char="§"/>
            </a:pPr>
            <a:r>
              <a:rPr lang="en-US" smtClean="0"/>
              <a:t>Third level</a:t>
            </a:r>
          </a:p>
          <a:p>
            <a:pPr marL="233363" lvl="3" indent="-233363" algn="l" defTabSz="914400" rtl="0" eaLnBrk="1" fontAlgn="base" latinLnBrk="0" hangingPunct="1">
              <a:spcBef>
                <a:spcPct val="0"/>
              </a:spcBef>
              <a:spcAft>
                <a:spcPts val="600"/>
              </a:spcAft>
              <a:buClr>
                <a:schemeClr val="accent2"/>
              </a:buClr>
              <a:buFont typeface="Wingdings" pitchFamily="2" charset="2"/>
              <a:buChar char="§"/>
            </a:pPr>
            <a:r>
              <a:rPr lang="en-US" smtClean="0"/>
              <a:t>Fourth level</a:t>
            </a:r>
          </a:p>
          <a:p>
            <a:pPr marL="233363" lvl="4" indent="-233363" algn="l" defTabSz="914400" rtl="0" eaLnBrk="1" fontAlgn="base" latinLnBrk="0" hangingPunct="1">
              <a:spcBef>
                <a:spcPct val="0"/>
              </a:spcBef>
              <a:spcAft>
                <a:spcPts val="600"/>
              </a:spcAft>
              <a:buClr>
                <a:schemeClr val="accent2"/>
              </a:buClr>
              <a:buFont typeface="Wingdings" pitchFamily="2" charset="2"/>
              <a:buChar char="§"/>
            </a:pPr>
            <a:r>
              <a:rPr lang="en-US" smtClean="0"/>
              <a:t>Fifth level</a:t>
            </a:r>
            <a:endParaRPr lang="en-US" dirty="0"/>
          </a:p>
        </p:txBody>
      </p:sp>
      <p:pic>
        <p:nvPicPr>
          <p:cNvPr id="11" name="Picture 4" descr="capgemini_rgb-[Converted]"/>
          <p:cNvPicPr>
            <a:picLocks noChangeAspect="1" noChangeArrowheads="1"/>
          </p:cNvPicPr>
          <p:nvPr/>
        </p:nvPicPr>
        <p:blipFill>
          <a:blip r:embed="rId20" cstate="print">
            <a:extLst>
              <a:ext uri="{28A0092B-C50C-407E-A947-70E740481C1C}">
                <a14:useLocalDpi xmlns="" xmlns:a14="http://schemas.microsoft.com/office/drawing/2010/main" val="0"/>
              </a:ext>
            </a:extLst>
          </a:blip>
          <a:srcRect/>
          <a:stretch>
            <a:fillRect/>
          </a:stretch>
        </p:blipFill>
        <p:spPr bwMode="gray">
          <a:xfrm>
            <a:off x="273049" y="6451601"/>
            <a:ext cx="1289051" cy="301625"/>
          </a:xfrm>
          <a:prstGeom prst="rect">
            <a:avLst/>
          </a:prstGeom>
          <a:noFill/>
          <a:ln w="9525">
            <a:noFill/>
            <a:miter lim="800000"/>
            <a:headEnd/>
            <a:tailEnd/>
          </a:ln>
        </p:spPr>
      </p:pic>
      <p:sp>
        <p:nvSpPr>
          <p:cNvPr id="12" name="Text Box 5"/>
          <p:cNvSpPr txBox="1">
            <a:spLocks noChangeArrowheads="1"/>
          </p:cNvSpPr>
          <p:nvPr/>
        </p:nvSpPr>
        <p:spPr bwMode="gray">
          <a:xfrm>
            <a:off x="1571625" y="6491288"/>
            <a:ext cx="1311578" cy="223138"/>
          </a:xfrm>
          <a:prstGeom prst="rect">
            <a:avLst/>
          </a:prstGeom>
          <a:noFill/>
          <a:ln w="19050">
            <a:noFill/>
            <a:miter lim="800000"/>
            <a:headEnd/>
            <a:tailEnd/>
          </a:ln>
          <a:effectLst/>
        </p:spPr>
        <p:txBody>
          <a:bodyPr wrap="none">
            <a:spAutoFit/>
          </a:bodyPr>
          <a:lstStyle/>
          <a:p>
            <a:pPr eaLnBrk="0" hangingPunct="0">
              <a:lnSpc>
                <a:spcPct val="85000"/>
              </a:lnSpc>
            </a:pPr>
            <a:r>
              <a:rPr lang="en-US" sz="1000" dirty="0">
                <a:solidFill>
                  <a:srgbClr val="969696"/>
                </a:solidFill>
              </a:rPr>
              <a:t>In collaboration with</a:t>
            </a:r>
          </a:p>
        </p:txBody>
      </p:sp>
      <p:sp>
        <p:nvSpPr>
          <p:cNvPr id="14" name="Line 7"/>
          <p:cNvSpPr>
            <a:spLocks noChangeShapeType="1"/>
          </p:cNvSpPr>
          <p:nvPr/>
        </p:nvSpPr>
        <p:spPr bwMode="gray">
          <a:xfrm>
            <a:off x="8691563" y="6500813"/>
            <a:ext cx="0" cy="239712"/>
          </a:xfrm>
          <a:prstGeom prst="line">
            <a:avLst/>
          </a:prstGeom>
          <a:noFill/>
          <a:ln w="9525">
            <a:solidFill>
              <a:srgbClr val="969696"/>
            </a:solidFill>
            <a:round/>
            <a:headEnd/>
            <a:tailEnd/>
          </a:ln>
          <a:effectLst/>
        </p:spPr>
        <p:txBody>
          <a:bodyPr wrap="none" anchor="ctr"/>
          <a:lstStyle/>
          <a:p>
            <a:endParaRPr lang="en-US" dirty="0">
              <a:solidFill>
                <a:schemeClr val="tx2"/>
              </a:solidFill>
            </a:endParaRPr>
          </a:p>
        </p:txBody>
      </p:sp>
      <p:sp>
        <p:nvSpPr>
          <p:cNvPr id="15" name="Text Box 8"/>
          <p:cNvSpPr txBox="1">
            <a:spLocks noChangeArrowheads="1"/>
          </p:cNvSpPr>
          <p:nvPr/>
        </p:nvSpPr>
        <p:spPr bwMode="gray">
          <a:xfrm>
            <a:off x="8691564" y="6499225"/>
            <a:ext cx="452437" cy="242888"/>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800">
                <a:solidFill>
                  <a:srgbClr val="969696"/>
                </a:solidFill>
                <a:latin typeface="Arial Narrow" pitchFamily="34" charset="0"/>
              </a:rPr>
              <a:pPr eaLnBrk="0" hangingPunct="0">
                <a:lnSpc>
                  <a:spcPct val="85000"/>
                </a:lnSpc>
              </a:pPr>
              <a:t>‹#›</a:t>
            </a:fld>
            <a:endParaRPr lang="en-US" sz="800" dirty="0">
              <a:solidFill>
                <a:srgbClr val="969696"/>
              </a:solidFill>
              <a:latin typeface="Arial Narrow" pitchFamily="34" charset="0"/>
            </a:endParaRPr>
          </a:p>
        </p:txBody>
      </p:sp>
      <p:sp>
        <p:nvSpPr>
          <p:cNvPr id="16" name="Text Box 9"/>
          <p:cNvSpPr txBox="1">
            <a:spLocks noChangeArrowheads="1"/>
          </p:cNvSpPr>
          <p:nvPr/>
        </p:nvSpPr>
        <p:spPr bwMode="gray">
          <a:xfrm>
            <a:off x="4106863" y="6548438"/>
            <a:ext cx="4551363" cy="170816"/>
          </a:xfrm>
          <a:prstGeom prst="rect">
            <a:avLst/>
          </a:prstGeom>
          <a:noFill/>
          <a:ln w="12700" algn="ctr">
            <a:noFill/>
            <a:miter lim="800000"/>
            <a:headEnd/>
            <a:tailEnd type="none" w="lg" len="lg"/>
          </a:ln>
          <a:effectLst/>
        </p:spPr>
        <p:txBody>
          <a:bodyPr>
            <a:spAutoFit/>
          </a:bodyPr>
          <a:lstStyle/>
          <a:p>
            <a:pPr algn="r" eaLnBrk="0" hangingPunct="0">
              <a:lnSpc>
                <a:spcPct val="85000"/>
              </a:lnSpc>
            </a:pPr>
            <a:r>
              <a:rPr lang="en-US" sz="600" dirty="0" smtClean="0">
                <a:solidFill>
                  <a:schemeClr val="tx2"/>
                </a:solidFill>
                <a:latin typeface="Arial Narrow" pitchFamily="34" charset="0"/>
              </a:rPr>
              <a:t>The information contained in this document is proprietary. Copyright © 2016 Capgemini. All rights reserved.</a:t>
            </a:r>
            <a:endParaRPr lang="en-US" sz="600" dirty="0">
              <a:solidFill>
                <a:schemeClr val="tx2"/>
              </a:solidFill>
              <a:latin typeface="Arial Narrow" pitchFamily="34" charset="0"/>
            </a:endParaRPr>
          </a:p>
        </p:txBody>
      </p:sp>
      <p:sp>
        <p:nvSpPr>
          <p:cNvPr id="18" name="Rectangle 17"/>
          <p:cNvSpPr/>
          <p:nvPr>
            <p:custDataLst>
              <p:tags r:id="rId18"/>
            </p:custDataLst>
          </p:nvPr>
        </p:nvSpPr>
        <p:spPr>
          <a:xfrm>
            <a:off x="6682612" y="6418258"/>
            <a:ext cx="1914554" cy="195814"/>
          </a:xfrm>
          <a:prstGeom prst="rect">
            <a:avLst/>
          </a:prstGeom>
        </p:spPr>
        <p:txBody>
          <a:bodyPr wrap="none" lIns="35997" tIns="35997" rIns="35997" bIns="35997" anchor="b" anchorCtr="0">
            <a:noAutofit/>
          </a:bodyPr>
          <a:lstStyle/>
          <a:p>
            <a:pPr algn="r"/>
            <a:r>
              <a:rPr lang="en-US" sz="600" dirty="0" smtClean="0">
                <a:solidFill>
                  <a:schemeClr val="tx2"/>
                </a:solidFill>
                <a:latin typeface="Arial Narrow" pitchFamily="34" charset="0"/>
              </a:rPr>
              <a:t>CRM-SHARE Cloud</a:t>
            </a:r>
            <a:r>
              <a:rPr lang="en-US" sz="600" baseline="0" dirty="0" smtClean="0">
                <a:solidFill>
                  <a:schemeClr val="tx2"/>
                </a:solidFill>
                <a:latin typeface="Arial Narrow" pitchFamily="34" charset="0"/>
              </a:rPr>
              <a:t> </a:t>
            </a:r>
            <a:r>
              <a:rPr lang="en-US" sz="600" dirty="0" smtClean="0">
                <a:solidFill>
                  <a:schemeClr val="tx2"/>
                </a:solidFill>
                <a:latin typeface="Arial Narrow" pitchFamily="34" charset="0"/>
              </a:rPr>
              <a:t>Oracle Sales Cloud Implementation Kickoff</a:t>
            </a:r>
            <a:endParaRPr lang="en-US" sz="600" dirty="0">
              <a:solidFill>
                <a:schemeClr val="tx2"/>
              </a:solidFill>
              <a:latin typeface="Arial Narrow" pitchFamily="34" charset="0"/>
            </a:endParaRPr>
          </a:p>
        </p:txBody>
      </p:sp>
      <p:sp>
        <p:nvSpPr>
          <p:cNvPr id="17" name="Rectangle 7"/>
          <p:cNvSpPr/>
          <p:nvPr>
            <p:custDataLst>
              <p:tags r:id="rId19"/>
            </p:custDataLst>
          </p:nvPr>
        </p:nvSpPr>
        <p:spPr bwMode="auto">
          <a:xfrm>
            <a:off x="-4761" y="749616"/>
            <a:ext cx="9147175" cy="309301"/>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1744042 w 12324337"/>
              <a:gd name="connsiteY7" fmla="*/ 1175529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233913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188049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188049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188049 h 2958168"/>
              <a:gd name="connsiteX8" fmla="*/ 1763257 w 12324337"/>
              <a:gd name="connsiteY8" fmla="*/ 2791 h 2958168"/>
              <a:gd name="connsiteX0" fmla="*/ 1763256 w 13203131"/>
              <a:gd name="connsiteY0" fmla="*/ 0 h 2958168"/>
              <a:gd name="connsiteX1" fmla="*/ 13202375 w 13203131"/>
              <a:gd name="connsiteY1" fmla="*/ 0 h 2958168"/>
              <a:gd name="connsiteX2" fmla="*/ 13201877 w 13203131"/>
              <a:gd name="connsiteY2" fmla="*/ 1476338 h 2958168"/>
              <a:gd name="connsiteX3" fmla="*/ 11929314 w 13203131"/>
              <a:gd name="connsiteY3" fmla="*/ 2153103 h 2958168"/>
              <a:gd name="connsiteX4" fmla="*/ 4958278 w 13203131"/>
              <a:gd name="connsiteY4" fmla="*/ 2159512 h 2958168"/>
              <a:gd name="connsiteX5" fmla="*/ 3821609 w 13203131"/>
              <a:gd name="connsiteY5" fmla="*/ 2958168 h 2958168"/>
              <a:gd name="connsiteX6" fmla="*/ 2640720 w 13203131"/>
              <a:gd name="connsiteY6" fmla="*/ 2174065 h 2958168"/>
              <a:gd name="connsiteX7" fmla="*/ 1758386 w 13203131"/>
              <a:gd name="connsiteY7" fmla="*/ 2188049 h 2958168"/>
              <a:gd name="connsiteX8" fmla="*/ 1763256 w 13203131"/>
              <a:gd name="connsiteY8" fmla="*/ 0 h 2958168"/>
              <a:gd name="connsiteX0" fmla="*/ 4870 w 11444745"/>
              <a:gd name="connsiteY0" fmla="*/ 0 h 2958168"/>
              <a:gd name="connsiteX1" fmla="*/ 11443989 w 11444745"/>
              <a:gd name="connsiteY1" fmla="*/ 0 h 2958168"/>
              <a:gd name="connsiteX2" fmla="*/ 11443491 w 11444745"/>
              <a:gd name="connsiteY2" fmla="*/ 1476338 h 2958168"/>
              <a:gd name="connsiteX3" fmla="*/ 10170928 w 11444745"/>
              <a:gd name="connsiteY3" fmla="*/ 2153103 h 2958168"/>
              <a:gd name="connsiteX4" fmla="*/ 3199892 w 11444745"/>
              <a:gd name="connsiteY4" fmla="*/ 2159512 h 2958168"/>
              <a:gd name="connsiteX5" fmla="*/ 2063223 w 11444745"/>
              <a:gd name="connsiteY5" fmla="*/ 2958168 h 2958168"/>
              <a:gd name="connsiteX6" fmla="*/ 882334 w 11444745"/>
              <a:gd name="connsiteY6" fmla="*/ 2174065 h 2958168"/>
              <a:gd name="connsiteX7" fmla="*/ 0 w 11444745"/>
              <a:gd name="connsiteY7" fmla="*/ 2188049 h 2958168"/>
              <a:gd name="connsiteX8" fmla="*/ 4870 w 11444745"/>
              <a:gd name="connsiteY8" fmla="*/ 0 h 2958168"/>
              <a:gd name="connsiteX0" fmla="*/ 4870 w 16276755"/>
              <a:gd name="connsiteY0" fmla="*/ 0 h 2958168"/>
              <a:gd name="connsiteX1" fmla="*/ 11443989 w 16276755"/>
              <a:gd name="connsiteY1" fmla="*/ 0 h 2958168"/>
              <a:gd name="connsiteX2" fmla="*/ 16275500 w 16276755"/>
              <a:gd name="connsiteY2" fmla="*/ 1268652 h 2958168"/>
              <a:gd name="connsiteX3" fmla="*/ 10170928 w 16276755"/>
              <a:gd name="connsiteY3" fmla="*/ 2153103 h 2958168"/>
              <a:gd name="connsiteX4" fmla="*/ 3199892 w 16276755"/>
              <a:gd name="connsiteY4" fmla="*/ 2159512 h 2958168"/>
              <a:gd name="connsiteX5" fmla="*/ 2063223 w 16276755"/>
              <a:gd name="connsiteY5" fmla="*/ 2958168 h 2958168"/>
              <a:gd name="connsiteX6" fmla="*/ 882334 w 16276755"/>
              <a:gd name="connsiteY6" fmla="*/ 2174065 h 2958168"/>
              <a:gd name="connsiteX7" fmla="*/ 0 w 16276755"/>
              <a:gd name="connsiteY7" fmla="*/ 2188049 h 2958168"/>
              <a:gd name="connsiteX8" fmla="*/ 4870 w 16276755"/>
              <a:gd name="connsiteY8" fmla="*/ 0 h 2958168"/>
              <a:gd name="connsiteX0" fmla="*/ 4870 w 16276755"/>
              <a:gd name="connsiteY0" fmla="*/ 0 h 2958168"/>
              <a:gd name="connsiteX1" fmla="*/ 11443989 w 16276755"/>
              <a:gd name="connsiteY1" fmla="*/ 0 h 2958168"/>
              <a:gd name="connsiteX2" fmla="*/ 16275500 w 16276755"/>
              <a:gd name="connsiteY2" fmla="*/ 1268652 h 2958168"/>
              <a:gd name="connsiteX3" fmla="*/ 15472016 w 16276755"/>
              <a:gd name="connsiteY3" fmla="*/ 2188049 h 2958168"/>
              <a:gd name="connsiteX4" fmla="*/ 3199892 w 16276755"/>
              <a:gd name="connsiteY4" fmla="*/ 2159512 h 2958168"/>
              <a:gd name="connsiteX5" fmla="*/ 2063223 w 16276755"/>
              <a:gd name="connsiteY5" fmla="*/ 2958168 h 2958168"/>
              <a:gd name="connsiteX6" fmla="*/ 882334 w 16276755"/>
              <a:gd name="connsiteY6" fmla="*/ 2174065 h 2958168"/>
              <a:gd name="connsiteX7" fmla="*/ 0 w 16276755"/>
              <a:gd name="connsiteY7" fmla="*/ 2188049 h 2958168"/>
              <a:gd name="connsiteX8" fmla="*/ 4870 w 16276755"/>
              <a:gd name="connsiteY8" fmla="*/ 0 h 2958168"/>
              <a:gd name="connsiteX0" fmla="*/ 4870 w 16278010"/>
              <a:gd name="connsiteY0" fmla="*/ 0 h 2958168"/>
              <a:gd name="connsiteX1" fmla="*/ 11443989 w 16278010"/>
              <a:gd name="connsiteY1" fmla="*/ 0 h 2958168"/>
              <a:gd name="connsiteX2" fmla="*/ 16276755 w 16278010"/>
              <a:gd name="connsiteY2" fmla="*/ 1717995 h 2958168"/>
              <a:gd name="connsiteX3" fmla="*/ 15472016 w 16278010"/>
              <a:gd name="connsiteY3" fmla="*/ 2188049 h 2958168"/>
              <a:gd name="connsiteX4" fmla="*/ 3199892 w 16278010"/>
              <a:gd name="connsiteY4" fmla="*/ 2159512 h 2958168"/>
              <a:gd name="connsiteX5" fmla="*/ 2063223 w 16278010"/>
              <a:gd name="connsiteY5" fmla="*/ 2958168 h 2958168"/>
              <a:gd name="connsiteX6" fmla="*/ 882334 w 16278010"/>
              <a:gd name="connsiteY6" fmla="*/ 2174065 h 2958168"/>
              <a:gd name="connsiteX7" fmla="*/ 0 w 16278010"/>
              <a:gd name="connsiteY7" fmla="*/ 2188049 h 2958168"/>
              <a:gd name="connsiteX8" fmla="*/ 4870 w 16278010"/>
              <a:gd name="connsiteY8" fmla="*/ 0 h 2958168"/>
              <a:gd name="connsiteX0" fmla="*/ 4870 w 16278010"/>
              <a:gd name="connsiteY0" fmla="*/ 0 h 2958168"/>
              <a:gd name="connsiteX1" fmla="*/ 11443989 w 16278010"/>
              <a:gd name="connsiteY1" fmla="*/ 0 h 2958168"/>
              <a:gd name="connsiteX2" fmla="*/ 16276755 w 16278010"/>
              <a:gd name="connsiteY2" fmla="*/ 1717995 h 2958168"/>
              <a:gd name="connsiteX3" fmla="*/ 15472016 w 16278010"/>
              <a:gd name="connsiteY3" fmla="*/ 2188049 h 2958168"/>
              <a:gd name="connsiteX4" fmla="*/ 3199892 w 16278010"/>
              <a:gd name="connsiteY4" fmla="*/ 2159512 h 2958168"/>
              <a:gd name="connsiteX5" fmla="*/ 2063223 w 16278010"/>
              <a:gd name="connsiteY5" fmla="*/ 2958168 h 2958168"/>
              <a:gd name="connsiteX6" fmla="*/ 882334 w 16278010"/>
              <a:gd name="connsiteY6" fmla="*/ 2174065 h 2958168"/>
              <a:gd name="connsiteX7" fmla="*/ 0 w 16278010"/>
              <a:gd name="connsiteY7" fmla="*/ 2188049 h 2958168"/>
              <a:gd name="connsiteX8" fmla="*/ 4870 w 16278010"/>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1 w 16273653"/>
              <a:gd name="connsiteY0" fmla="*/ 0 h 2958168"/>
              <a:gd name="connsiteX1" fmla="*/ 16273141 w 16273653"/>
              <a:gd name="connsiteY1" fmla="*/ 0 h 2958168"/>
              <a:gd name="connsiteX2" fmla="*/ 16271886 w 16273653"/>
              <a:gd name="connsiteY2" fmla="*/ 1717995 h 2958168"/>
              <a:gd name="connsiteX3" fmla="*/ 15467147 w 16273653"/>
              <a:gd name="connsiteY3" fmla="*/ 2188049 h 2958168"/>
              <a:gd name="connsiteX4" fmla="*/ 3195023 w 16273653"/>
              <a:gd name="connsiteY4" fmla="*/ 2159512 h 2958168"/>
              <a:gd name="connsiteX5" fmla="*/ 2058354 w 16273653"/>
              <a:gd name="connsiteY5" fmla="*/ 2958168 h 2958168"/>
              <a:gd name="connsiteX6" fmla="*/ 877465 w 16273653"/>
              <a:gd name="connsiteY6" fmla="*/ 2174065 h 2958168"/>
              <a:gd name="connsiteX7" fmla="*/ 2 w 16273653"/>
              <a:gd name="connsiteY7" fmla="*/ 2188049 h 2958168"/>
              <a:gd name="connsiteX8" fmla="*/ 1 w 16273653"/>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76364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76364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76364 h 2958168"/>
              <a:gd name="connsiteX8" fmla="*/ 4872 w 16278524"/>
              <a:gd name="connsiteY8" fmla="*/ 0 h 2958168"/>
              <a:gd name="connsiteX0" fmla="*/ 1 w 16273653"/>
              <a:gd name="connsiteY0" fmla="*/ 0 h 2958168"/>
              <a:gd name="connsiteX1" fmla="*/ 16273141 w 16273653"/>
              <a:gd name="connsiteY1" fmla="*/ 0 h 2958168"/>
              <a:gd name="connsiteX2" fmla="*/ 16271886 w 16273653"/>
              <a:gd name="connsiteY2" fmla="*/ 1717995 h 2958168"/>
              <a:gd name="connsiteX3" fmla="*/ 15467147 w 16273653"/>
              <a:gd name="connsiteY3" fmla="*/ 2188049 h 2958168"/>
              <a:gd name="connsiteX4" fmla="*/ 3195023 w 16273653"/>
              <a:gd name="connsiteY4" fmla="*/ 2159512 h 2958168"/>
              <a:gd name="connsiteX5" fmla="*/ 2058354 w 16273653"/>
              <a:gd name="connsiteY5" fmla="*/ 2958168 h 2958168"/>
              <a:gd name="connsiteX6" fmla="*/ 877465 w 16273653"/>
              <a:gd name="connsiteY6" fmla="*/ 2174065 h 2958168"/>
              <a:gd name="connsiteX7" fmla="*/ 2 w 16273653"/>
              <a:gd name="connsiteY7" fmla="*/ 2195845 h 2958168"/>
              <a:gd name="connsiteX8" fmla="*/ 1 w 16273653"/>
              <a:gd name="connsiteY8" fmla="*/ 0 h 2958168"/>
              <a:gd name="connsiteX0" fmla="*/ 1 w 21695427"/>
              <a:gd name="connsiteY0" fmla="*/ 0 h 2958168"/>
              <a:gd name="connsiteX1" fmla="*/ 16273141 w 21695427"/>
              <a:gd name="connsiteY1" fmla="*/ 0 h 2958168"/>
              <a:gd name="connsiteX2" fmla="*/ 21694172 w 21695427"/>
              <a:gd name="connsiteY2" fmla="*/ 1820764 h 2958168"/>
              <a:gd name="connsiteX3" fmla="*/ 15467147 w 21695427"/>
              <a:gd name="connsiteY3" fmla="*/ 2188049 h 2958168"/>
              <a:gd name="connsiteX4" fmla="*/ 3195023 w 21695427"/>
              <a:gd name="connsiteY4" fmla="*/ 2159512 h 2958168"/>
              <a:gd name="connsiteX5" fmla="*/ 2058354 w 21695427"/>
              <a:gd name="connsiteY5" fmla="*/ 2958168 h 2958168"/>
              <a:gd name="connsiteX6" fmla="*/ 877465 w 21695427"/>
              <a:gd name="connsiteY6" fmla="*/ 2174065 h 2958168"/>
              <a:gd name="connsiteX7" fmla="*/ 2 w 21695427"/>
              <a:gd name="connsiteY7" fmla="*/ 2195845 h 2958168"/>
              <a:gd name="connsiteX8" fmla="*/ 1 w 21695427"/>
              <a:gd name="connsiteY8" fmla="*/ 0 h 2958168"/>
              <a:gd name="connsiteX0" fmla="*/ 1 w 21695427"/>
              <a:gd name="connsiteY0" fmla="*/ 0 h 2958168"/>
              <a:gd name="connsiteX1" fmla="*/ 21694172 w 21695427"/>
              <a:gd name="connsiteY1" fmla="*/ 0 h 2958168"/>
              <a:gd name="connsiteX2" fmla="*/ 21694172 w 21695427"/>
              <a:gd name="connsiteY2" fmla="*/ 1820764 h 2958168"/>
              <a:gd name="connsiteX3" fmla="*/ 15467147 w 21695427"/>
              <a:gd name="connsiteY3" fmla="*/ 2188049 h 2958168"/>
              <a:gd name="connsiteX4" fmla="*/ 3195023 w 21695427"/>
              <a:gd name="connsiteY4" fmla="*/ 2159512 h 2958168"/>
              <a:gd name="connsiteX5" fmla="*/ 2058354 w 21695427"/>
              <a:gd name="connsiteY5" fmla="*/ 2958168 h 2958168"/>
              <a:gd name="connsiteX6" fmla="*/ 877465 w 21695427"/>
              <a:gd name="connsiteY6" fmla="*/ 2174065 h 2958168"/>
              <a:gd name="connsiteX7" fmla="*/ 2 w 21695427"/>
              <a:gd name="connsiteY7" fmla="*/ 2195845 h 2958168"/>
              <a:gd name="connsiteX8" fmla="*/ 1 w 21695427"/>
              <a:gd name="connsiteY8" fmla="*/ 0 h 2958168"/>
              <a:gd name="connsiteX0" fmla="*/ 1 w 21695939"/>
              <a:gd name="connsiteY0" fmla="*/ 0 h 2958168"/>
              <a:gd name="connsiteX1" fmla="*/ 21695427 w 21695939"/>
              <a:gd name="connsiteY1" fmla="*/ 0 h 2958168"/>
              <a:gd name="connsiteX2" fmla="*/ 21694172 w 21695939"/>
              <a:gd name="connsiteY2" fmla="*/ 1820764 h 2958168"/>
              <a:gd name="connsiteX3" fmla="*/ 15467147 w 21695939"/>
              <a:gd name="connsiteY3" fmla="*/ 2188049 h 2958168"/>
              <a:gd name="connsiteX4" fmla="*/ 3195023 w 21695939"/>
              <a:gd name="connsiteY4" fmla="*/ 2159512 h 2958168"/>
              <a:gd name="connsiteX5" fmla="*/ 2058354 w 21695939"/>
              <a:gd name="connsiteY5" fmla="*/ 2958168 h 2958168"/>
              <a:gd name="connsiteX6" fmla="*/ 877465 w 21695939"/>
              <a:gd name="connsiteY6" fmla="*/ 2174065 h 2958168"/>
              <a:gd name="connsiteX7" fmla="*/ 2 w 21695939"/>
              <a:gd name="connsiteY7" fmla="*/ 2195845 h 2958168"/>
              <a:gd name="connsiteX8" fmla="*/ 1 w 21695939"/>
              <a:gd name="connsiteY8" fmla="*/ 0 h 2958168"/>
              <a:gd name="connsiteX0" fmla="*/ 1 w 21695939"/>
              <a:gd name="connsiteY0" fmla="*/ 0 h 2958168"/>
              <a:gd name="connsiteX1" fmla="*/ 21695427 w 21695939"/>
              <a:gd name="connsiteY1" fmla="*/ 0 h 2958168"/>
              <a:gd name="connsiteX2" fmla="*/ 21694172 w 21695939"/>
              <a:gd name="connsiteY2" fmla="*/ 1820764 h 2958168"/>
              <a:gd name="connsiteX3" fmla="*/ 20899883 w 21695939"/>
              <a:gd name="connsiteY3" fmla="*/ 2195845 h 2958168"/>
              <a:gd name="connsiteX4" fmla="*/ 3195023 w 21695939"/>
              <a:gd name="connsiteY4" fmla="*/ 2159512 h 2958168"/>
              <a:gd name="connsiteX5" fmla="*/ 2058354 w 21695939"/>
              <a:gd name="connsiteY5" fmla="*/ 2958168 h 2958168"/>
              <a:gd name="connsiteX6" fmla="*/ 877465 w 21695939"/>
              <a:gd name="connsiteY6" fmla="*/ 2174065 h 2958168"/>
              <a:gd name="connsiteX7" fmla="*/ 2 w 21695939"/>
              <a:gd name="connsiteY7" fmla="*/ 2195845 h 2958168"/>
              <a:gd name="connsiteX8" fmla="*/ 1 w 21695939"/>
              <a:gd name="connsiteY8" fmla="*/ 0 h 2958168"/>
              <a:gd name="connsiteX0" fmla="*/ 2 w 21700437"/>
              <a:gd name="connsiteY0" fmla="*/ 0 h 4325468"/>
              <a:gd name="connsiteX1" fmla="*/ 21699925 w 21700437"/>
              <a:gd name="connsiteY1" fmla="*/ 1367300 h 4325468"/>
              <a:gd name="connsiteX2" fmla="*/ 21698670 w 21700437"/>
              <a:gd name="connsiteY2" fmla="*/ 3188064 h 4325468"/>
              <a:gd name="connsiteX3" fmla="*/ 20904381 w 21700437"/>
              <a:gd name="connsiteY3" fmla="*/ 3563145 h 4325468"/>
              <a:gd name="connsiteX4" fmla="*/ 3199521 w 21700437"/>
              <a:gd name="connsiteY4" fmla="*/ 3526812 h 4325468"/>
              <a:gd name="connsiteX5" fmla="*/ 2062852 w 21700437"/>
              <a:gd name="connsiteY5" fmla="*/ 4325468 h 4325468"/>
              <a:gd name="connsiteX6" fmla="*/ 881963 w 21700437"/>
              <a:gd name="connsiteY6" fmla="*/ 3541365 h 4325468"/>
              <a:gd name="connsiteX7" fmla="*/ 4500 w 21700437"/>
              <a:gd name="connsiteY7" fmla="*/ 3563145 h 4325468"/>
              <a:gd name="connsiteX8" fmla="*/ 2 w 21700437"/>
              <a:gd name="connsiteY8" fmla="*/ 0 h 4325468"/>
              <a:gd name="connsiteX0" fmla="*/ 2 w 21699925"/>
              <a:gd name="connsiteY0" fmla="*/ 0 h 4325468"/>
              <a:gd name="connsiteX1" fmla="*/ 21698669 w 21699925"/>
              <a:gd name="connsiteY1" fmla="*/ 0 h 4325468"/>
              <a:gd name="connsiteX2" fmla="*/ 21698670 w 21699925"/>
              <a:gd name="connsiteY2" fmla="*/ 3188064 h 4325468"/>
              <a:gd name="connsiteX3" fmla="*/ 20904381 w 21699925"/>
              <a:gd name="connsiteY3" fmla="*/ 3563145 h 4325468"/>
              <a:gd name="connsiteX4" fmla="*/ 3199521 w 21699925"/>
              <a:gd name="connsiteY4" fmla="*/ 3526812 h 4325468"/>
              <a:gd name="connsiteX5" fmla="*/ 2062852 w 21699925"/>
              <a:gd name="connsiteY5" fmla="*/ 4325468 h 4325468"/>
              <a:gd name="connsiteX6" fmla="*/ 881963 w 21699925"/>
              <a:gd name="connsiteY6" fmla="*/ 3541365 h 4325468"/>
              <a:gd name="connsiteX7" fmla="*/ 4500 w 21699925"/>
              <a:gd name="connsiteY7" fmla="*/ 3563145 h 4325468"/>
              <a:gd name="connsiteX8" fmla="*/ 2 w 21699925"/>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1918176 w 22713720"/>
              <a:gd name="connsiteY3" fmla="*/ 3563145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1018295 w 22713720"/>
              <a:gd name="connsiteY7" fmla="*/ 3563145 h 4325468"/>
              <a:gd name="connsiteX8" fmla="*/ 3 w 22713720"/>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1918176 w 22713720"/>
              <a:gd name="connsiteY3" fmla="*/ 3563145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0 w 22713720"/>
              <a:gd name="connsiteY7" fmla="*/ 3529270 h 4325468"/>
              <a:gd name="connsiteX8" fmla="*/ 3 w 22713720"/>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1918176 w 22713720"/>
              <a:gd name="connsiteY3" fmla="*/ 3563145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2 w 22713720"/>
              <a:gd name="connsiteY7" fmla="*/ 3551158 h 4325468"/>
              <a:gd name="connsiteX8" fmla="*/ 3 w 22713720"/>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0899886 w 22713720"/>
              <a:gd name="connsiteY3" fmla="*/ 3551158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2 w 22713720"/>
              <a:gd name="connsiteY7" fmla="*/ 3551158 h 4325468"/>
              <a:gd name="connsiteX8" fmla="*/ 3 w 22713720"/>
              <a:gd name="connsiteY8" fmla="*/ 0 h 4325468"/>
              <a:gd name="connsiteX0" fmla="*/ 3 w 22712977"/>
              <a:gd name="connsiteY0" fmla="*/ 0 h 4325468"/>
              <a:gd name="connsiteX1" fmla="*/ 22712464 w 22712977"/>
              <a:gd name="connsiteY1" fmla="*/ 0 h 4325468"/>
              <a:gd name="connsiteX2" fmla="*/ 21694177 w 22712977"/>
              <a:gd name="connsiteY2" fmla="*/ 3166173 h 4325468"/>
              <a:gd name="connsiteX3" fmla="*/ 20899886 w 22712977"/>
              <a:gd name="connsiteY3" fmla="*/ 3551158 h 4325468"/>
              <a:gd name="connsiteX4" fmla="*/ 4213316 w 22712977"/>
              <a:gd name="connsiteY4" fmla="*/ 3526812 h 4325468"/>
              <a:gd name="connsiteX5" fmla="*/ 3076647 w 22712977"/>
              <a:gd name="connsiteY5" fmla="*/ 4325468 h 4325468"/>
              <a:gd name="connsiteX6" fmla="*/ 1895758 w 22712977"/>
              <a:gd name="connsiteY6" fmla="*/ 3541365 h 4325468"/>
              <a:gd name="connsiteX7" fmla="*/ 2 w 22712977"/>
              <a:gd name="connsiteY7" fmla="*/ 3551158 h 4325468"/>
              <a:gd name="connsiteX8" fmla="*/ 3 w 22712977"/>
              <a:gd name="connsiteY8" fmla="*/ 0 h 4325468"/>
              <a:gd name="connsiteX0" fmla="*/ 3 w 21695432"/>
              <a:gd name="connsiteY0" fmla="*/ 0 h 4325468"/>
              <a:gd name="connsiteX1" fmla="*/ 21153955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895758 w 21695432"/>
              <a:gd name="connsiteY6" fmla="*/ 3541365 h 4325468"/>
              <a:gd name="connsiteX7" fmla="*/ 2 w 21695432"/>
              <a:gd name="connsiteY7" fmla="*/ 3551158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895758 w 21695432"/>
              <a:gd name="connsiteY6" fmla="*/ 3541365 h 4325468"/>
              <a:gd name="connsiteX7" fmla="*/ 2 w 21695432"/>
              <a:gd name="connsiteY7" fmla="*/ 3551158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895758 w 21695432"/>
              <a:gd name="connsiteY6" fmla="*/ 3541365 h 4325468"/>
              <a:gd name="connsiteX7" fmla="*/ 5 w 21695432"/>
              <a:gd name="connsiteY7" fmla="*/ 3526990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902293 w 21695432"/>
              <a:gd name="connsiteY6" fmla="*/ 3526990 h 4325468"/>
              <a:gd name="connsiteX7" fmla="*/ 5 w 21695432"/>
              <a:gd name="connsiteY7" fmla="*/ 3526990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9849 w 21695432"/>
              <a:gd name="connsiteY4" fmla="*/ 3526990 h 4325468"/>
              <a:gd name="connsiteX5" fmla="*/ 3076647 w 21695432"/>
              <a:gd name="connsiteY5" fmla="*/ 4325468 h 4325468"/>
              <a:gd name="connsiteX6" fmla="*/ 1902293 w 21695432"/>
              <a:gd name="connsiteY6" fmla="*/ 3526990 h 4325468"/>
              <a:gd name="connsiteX7" fmla="*/ 5 w 21695432"/>
              <a:gd name="connsiteY7" fmla="*/ 3526990 h 4325468"/>
              <a:gd name="connsiteX8" fmla="*/ 3 w 21695432"/>
              <a:gd name="connsiteY8" fmla="*/ 0 h 4325468"/>
              <a:gd name="connsiteX0" fmla="*/ 1 w 21694863"/>
              <a:gd name="connsiteY0" fmla="*/ 0 h 4325468"/>
              <a:gd name="connsiteX1" fmla="*/ 21694175 w 21694863"/>
              <a:gd name="connsiteY1" fmla="*/ 21891 h 4325468"/>
              <a:gd name="connsiteX2" fmla="*/ 21694175 w 21694863"/>
              <a:gd name="connsiteY2" fmla="*/ 3166173 h 4325468"/>
              <a:gd name="connsiteX3" fmla="*/ 20899884 w 21694863"/>
              <a:gd name="connsiteY3" fmla="*/ 3551158 h 4325468"/>
              <a:gd name="connsiteX4" fmla="*/ 4219847 w 21694863"/>
              <a:gd name="connsiteY4" fmla="*/ 3526990 h 4325468"/>
              <a:gd name="connsiteX5" fmla="*/ 3076645 w 21694863"/>
              <a:gd name="connsiteY5" fmla="*/ 4325468 h 4325468"/>
              <a:gd name="connsiteX6" fmla="*/ 1902291 w 21694863"/>
              <a:gd name="connsiteY6" fmla="*/ 3526990 h 4325468"/>
              <a:gd name="connsiteX7" fmla="*/ 3 w 21694863"/>
              <a:gd name="connsiteY7" fmla="*/ 3526990 h 4325468"/>
              <a:gd name="connsiteX8" fmla="*/ 216943 w 21694863"/>
              <a:gd name="connsiteY8" fmla="*/ 224377 h 4325468"/>
              <a:gd name="connsiteX0" fmla="*/ 1 w 21694863"/>
              <a:gd name="connsiteY0" fmla="*/ 0 h 4325468"/>
              <a:gd name="connsiteX1" fmla="*/ 21694175 w 21694863"/>
              <a:gd name="connsiteY1" fmla="*/ 21891 h 4325468"/>
              <a:gd name="connsiteX2" fmla="*/ 21694175 w 21694863"/>
              <a:gd name="connsiteY2" fmla="*/ 3166173 h 4325468"/>
              <a:gd name="connsiteX3" fmla="*/ 20899884 w 21694863"/>
              <a:gd name="connsiteY3" fmla="*/ 3551158 h 4325468"/>
              <a:gd name="connsiteX4" fmla="*/ 4219847 w 21694863"/>
              <a:gd name="connsiteY4" fmla="*/ 3526990 h 4325468"/>
              <a:gd name="connsiteX5" fmla="*/ 3076645 w 21694863"/>
              <a:gd name="connsiteY5" fmla="*/ 4325468 h 4325468"/>
              <a:gd name="connsiteX6" fmla="*/ 1902291 w 21694863"/>
              <a:gd name="connsiteY6" fmla="*/ 3526990 h 4325468"/>
              <a:gd name="connsiteX7" fmla="*/ 3 w 21694863"/>
              <a:gd name="connsiteY7" fmla="*/ 3526990 h 4325468"/>
              <a:gd name="connsiteX0" fmla="*/ 21694173 w 21694861"/>
              <a:gd name="connsiteY0" fmla="*/ 0 h 4303577"/>
              <a:gd name="connsiteX1" fmla="*/ 21694173 w 21694861"/>
              <a:gd name="connsiteY1" fmla="*/ 3144282 h 4303577"/>
              <a:gd name="connsiteX2" fmla="*/ 20899882 w 21694861"/>
              <a:gd name="connsiteY2" fmla="*/ 3529267 h 4303577"/>
              <a:gd name="connsiteX3" fmla="*/ 4219845 w 21694861"/>
              <a:gd name="connsiteY3" fmla="*/ 3505099 h 4303577"/>
              <a:gd name="connsiteX4" fmla="*/ 3076643 w 21694861"/>
              <a:gd name="connsiteY4" fmla="*/ 4303577 h 4303577"/>
              <a:gd name="connsiteX5" fmla="*/ 1902289 w 21694861"/>
              <a:gd name="connsiteY5" fmla="*/ 3505099 h 4303577"/>
              <a:gd name="connsiteX6" fmla="*/ 1 w 21694861"/>
              <a:gd name="connsiteY6" fmla="*/ 3505099 h 4303577"/>
              <a:gd name="connsiteX0" fmla="*/ 21694173 w 21694173"/>
              <a:gd name="connsiteY0" fmla="*/ 0 h 1159295"/>
              <a:gd name="connsiteX1" fmla="*/ 20899882 w 21694173"/>
              <a:gd name="connsiteY1" fmla="*/ 384985 h 1159295"/>
              <a:gd name="connsiteX2" fmla="*/ 4219845 w 21694173"/>
              <a:gd name="connsiteY2" fmla="*/ 360817 h 1159295"/>
              <a:gd name="connsiteX3" fmla="*/ 3076643 w 21694173"/>
              <a:gd name="connsiteY3" fmla="*/ 1159295 h 1159295"/>
              <a:gd name="connsiteX4" fmla="*/ 1902289 w 21694173"/>
              <a:gd name="connsiteY4" fmla="*/ 360817 h 1159295"/>
              <a:gd name="connsiteX5" fmla="*/ 1 w 21694173"/>
              <a:gd name="connsiteY5" fmla="*/ 360817 h 1159295"/>
              <a:gd name="connsiteX0" fmla="*/ 21694173 w 21694173"/>
              <a:gd name="connsiteY0" fmla="*/ 0 h 1159295"/>
              <a:gd name="connsiteX1" fmla="*/ 20899882 w 21694173"/>
              <a:gd name="connsiteY1" fmla="*/ 384985 h 1159295"/>
              <a:gd name="connsiteX2" fmla="*/ 4219845 w 21694173"/>
              <a:gd name="connsiteY2" fmla="*/ 360817 h 1159295"/>
              <a:gd name="connsiteX3" fmla="*/ 3076643 w 21694173"/>
              <a:gd name="connsiteY3" fmla="*/ 1159295 h 1159295"/>
              <a:gd name="connsiteX4" fmla="*/ 1902289 w 21694173"/>
              <a:gd name="connsiteY4" fmla="*/ 360817 h 1159295"/>
              <a:gd name="connsiteX5" fmla="*/ 0 w 21694173"/>
              <a:gd name="connsiteY5" fmla="*/ 325388 h 1159295"/>
              <a:gd name="connsiteX0" fmla="*/ 20572358 w 20572358"/>
              <a:gd name="connsiteY0" fmla="*/ 0 h 1159295"/>
              <a:gd name="connsiteX1" fmla="*/ 19778067 w 20572358"/>
              <a:gd name="connsiteY1" fmla="*/ 384985 h 1159295"/>
              <a:gd name="connsiteX2" fmla="*/ 3098030 w 20572358"/>
              <a:gd name="connsiteY2" fmla="*/ 360817 h 1159295"/>
              <a:gd name="connsiteX3" fmla="*/ 1954828 w 20572358"/>
              <a:gd name="connsiteY3" fmla="*/ 1159295 h 1159295"/>
              <a:gd name="connsiteX4" fmla="*/ 780474 w 20572358"/>
              <a:gd name="connsiteY4" fmla="*/ 360817 h 1159295"/>
              <a:gd name="connsiteX5" fmla="*/ 0 w 20572358"/>
              <a:gd name="connsiteY5" fmla="*/ 343100 h 1159295"/>
              <a:gd name="connsiteX0" fmla="*/ 20341146 w 20341146"/>
              <a:gd name="connsiteY0" fmla="*/ 0 h 1159295"/>
              <a:gd name="connsiteX1" fmla="*/ 19546855 w 20341146"/>
              <a:gd name="connsiteY1" fmla="*/ 384985 h 1159295"/>
              <a:gd name="connsiteX2" fmla="*/ 2866818 w 20341146"/>
              <a:gd name="connsiteY2" fmla="*/ 360817 h 1159295"/>
              <a:gd name="connsiteX3" fmla="*/ 1723616 w 20341146"/>
              <a:gd name="connsiteY3" fmla="*/ 1159295 h 1159295"/>
              <a:gd name="connsiteX4" fmla="*/ 549262 w 20341146"/>
              <a:gd name="connsiteY4" fmla="*/ 360817 h 1159295"/>
              <a:gd name="connsiteX5" fmla="*/ 0 w 20341146"/>
              <a:gd name="connsiteY5" fmla="*/ 343100 h 1159295"/>
              <a:gd name="connsiteX0" fmla="*/ 20341146 w 20341146"/>
              <a:gd name="connsiteY0" fmla="*/ 0 h 1159295"/>
              <a:gd name="connsiteX1" fmla="*/ 19546855 w 20341146"/>
              <a:gd name="connsiteY1" fmla="*/ 384985 h 1159295"/>
              <a:gd name="connsiteX2" fmla="*/ 2866818 w 20341146"/>
              <a:gd name="connsiteY2" fmla="*/ 360817 h 1159295"/>
              <a:gd name="connsiteX3" fmla="*/ 1723616 w 20341146"/>
              <a:gd name="connsiteY3" fmla="*/ 1159295 h 1159295"/>
              <a:gd name="connsiteX4" fmla="*/ 549262 w 20341146"/>
              <a:gd name="connsiteY4" fmla="*/ 360817 h 1159295"/>
              <a:gd name="connsiteX5" fmla="*/ 0 w 20341146"/>
              <a:gd name="connsiteY5" fmla="*/ 343100 h 1159295"/>
              <a:gd name="connsiteX0" fmla="*/ 23706597 w 23706597"/>
              <a:gd name="connsiteY0" fmla="*/ 0 h 1203579"/>
              <a:gd name="connsiteX1" fmla="*/ 19546855 w 23706597"/>
              <a:gd name="connsiteY1" fmla="*/ 429269 h 1203579"/>
              <a:gd name="connsiteX2" fmla="*/ 2866818 w 23706597"/>
              <a:gd name="connsiteY2" fmla="*/ 405101 h 1203579"/>
              <a:gd name="connsiteX3" fmla="*/ 1723616 w 23706597"/>
              <a:gd name="connsiteY3" fmla="*/ 1203579 h 1203579"/>
              <a:gd name="connsiteX4" fmla="*/ 549262 w 23706597"/>
              <a:gd name="connsiteY4" fmla="*/ 405101 h 1203579"/>
              <a:gd name="connsiteX5" fmla="*/ 0 w 23706597"/>
              <a:gd name="connsiteY5" fmla="*/ 387384 h 1203579"/>
              <a:gd name="connsiteX0" fmla="*/ 28887508 w 28887508"/>
              <a:gd name="connsiteY0" fmla="*/ 0 h 1159295"/>
              <a:gd name="connsiteX1" fmla="*/ 19546855 w 28887508"/>
              <a:gd name="connsiteY1" fmla="*/ 384985 h 1159295"/>
              <a:gd name="connsiteX2" fmla="*/ 2866818 w 28887508"/>
              <a:gd name="connsiteY2" fmla="*/ 360817 h 1159295"/>
              <a:gd name="connsiteX3" fmla="*/ 1723616 w 28887508"/>
              <a:gd name="connsiteY3" fmla="*/ 1159295 h 1159295"/>
              <a:gd name="connsiteX4" fmla="*/ 549262 w 28887508"/>
              <a:gd name="connsiteY4" fmla="*/ 360817 h 1159295"/>
              <a:gd name="connsiteX5" fmla="*/ 0 w 28887508"/>
              <a:gd name="connsiteY5" fmla="*/ 343100 h 1159295"/>
              <a:gd name="connsiteX0" fmla="*/ 32895222 w 32895222"/>
              <a:gd name="connsiteY0" fmla="*/ 0 h 1150439"/>
              <a:gd name="connsiteX1" fmla="*/ 19546855 w 32895222"/>
              <a:gd name="connsiteY1" fmla="*/ 376129 h 1150439"/>
              <a:gd name="connsiteX2" fmla="*/ 2866818 w 32895222"/>
              <a:gd name="connsiteY2" fmla="*/ 351961 h 1150439"/>
              <a:gd name="connsiteX3" fmla="*/ 1723616 w 32895222"/>
              <a:gd name="connsiteY3" fmla="*/ 1150439 h 1150439"/>
              <a:gd name="connsiteX4" fmla="*/ 549262 w 32895222"/>
              <a:gd name="connsiteY4" fmla="*/ 351961 h 1150439"/>
              <a:gd name="connsiteX5" fmla="*/ 0 w 32895222"/>
              <a:gd name="connsiteY5" fmla="*/ 334244 h 1150439"/>
              <a:gd name="connsiteX0" fmla="*/ 32895222 w 32895222"/>
              <a:gd name="connsiteY0" fmla="*/ 0 h 1150439"/>
              <a:gd name="connsiteX1" fmla="*/ 21858998 w 32895222"/>
              <a:gd name="connsiteY1" fmla="*/ 384985 h 1150439"/>
              <a:gd name="connsiteX2" fmla="*/ 2866818 w 32895222"/>
              <a:gd name="connsiteY2" fmla="*/ 351961 h 1150439"/>
              <a:gd name="connsiteX3" fmla="*/ 1723616 w 32895222"/>
              <a:gd name="connsiteY3" fmla="*/ 1150439 h 1150439"/>
              <a:gd name="connsiteX4" fmla="*/ 549262 w 32895222"/>
              <a:gd name="connsiteY4" fmla="*/ 351961 h 1150439"/>
              <a:gd name="connsiteX5" fmla="*/ 0 w 32895222"/>
              <a:gd name="connsiteY5" fmla="*/ 334244 h 1150439"/>
              <a:gd name="connsiteX0" fmla="*/ 32895222 w 32895222"/>
              <a:gd name="connsiteY0" fmla="*/ 0 h 1150439"/>
              <a:gd name="connsiteX1" fmla="*/ 26645990 w 32895222"/>
              <a:gd name="connsiteY1" fmla="*/ 340701 h 1150439"/>
              <a:gd name="connsiteX2" fmla="*/ 2866818 w 32895222"/>
              <a:gd name="connsiteY2" fmla="*/ 351961 h 1150439"/>
              <a:gd name="connsiteX3" fmla="*/ 1723616 w 32895222"/>
              <a:gd name="connsiteY3" fmla="*/ 1150439 h 1150439"/>
              <a:gd name="connsiteX4" fmla="*/ 549262 w 32895222"/>
              <a:gd name="connsiteY4" fmla="*/ 351961 h 1150439"/>
              <a:gd name="connsiteX5" fmla="*/ 0 w 32895222"/>
              <a:gd name="connsiteY5" fmla="*/ 334244 h 1150439"/>
              <a:gd name="connsiteX0" fmla="*/ 32895222 w 32895222"/>
              <a:gd name="connsiteY0" fmla="*/ 0 h 1150439"/>
              <a:gd name="connsiteX1" fmla="*/ 31818339 w 32895222"/>
              <a:gd name="connsiteY1" fmla="*/ 358417 h 1150439"/>
              <a:gd name="connsiteX2" fmla="*/ 2866818 w 32895222"/>
              <a:gd name="connsiteY2" fmla="*/ 351961 h 1150439"/>
              <a:gd name="connsiteX3" fmla="*/ 1723616 w 32895222"/>
              <a:gd name="connsiteY3" fmla="*/ 1150439 h 1150439"/>
              <a:gd name="connsiteX4" fmla="*/ 549262 w 32895222"/>
              <a:gd name="connsiteY4" fmla="*/ 351961 h 1150439"/>
              <a:gd name="connsiteX5" fmla="*/ 0 w 32895222"/>
              <a:gd name="connsiteY5" fmla="*/ 334244 h 1150439"/>
              <a:gd name="connsiteX0" fmla="*/ 32895222 w 32895222"/>
              <a:gd name="connsiteY0" fmla="*/ 0 h 1150439"/>
              <a:gd name="connsiteX1" fmla="*/ 32023862 w 32895222"/>
              <a:gd name="connsiteY1" fmla="*/ 393845 h 1150439"/>
              <a:gd name="connsiteX2" fmla="*/ 2866818 w 32895222"/>
              <a:gd name="connsiteY2" fmla="*/ 351961 h 1150439"/>
              <a:gd name="connsiteX3" fmla="*/ 1723616 w 32895222"/>
              <a:gd name="connsiteY3" fmla="*/ 1150439 h 1150439"/>
              <a:gd name="connsiteX4" fmla="*/ 549262 w 32895222"/>
              <a:gd name="connsiteY4" fmla="*/ 351961 h 1150439"/>
              <a:gd name="connsiteX5" fmla="*/ 0 w 32895222"/>
              <a:gd name="connsiteY5" fmla="*/ 334244 h 1150439"/>
              <a:gd name="connsiteX0" fmla="*/ 32895222 w 32895222"/>
              <a:gd name="connsiteY0" fmla="*/ 0 h 1150439"/>
              <a:gd name="connsiteX1" fmla="*/ 32023862 w 32895222"/>
              <a:gd name="connsiteY1" fmla="*/ 358417 h 1150439"/>
              <a:gd name="connsiteX2" fmla="*/ 2866818 w 32895222"/>
              <a:gd name="connsiteY2" fmla="*/ 351961 h 1150439"/>
              <a:gd name="connsiteX3" fmla="*/ 1723616 w 32895222"/>
              <a:gd name="connsiteY3" fmla="*/ 1150439 h 1150439"/>
              <a:gd name="connsiteX4" fmla="*/ 549262 w 32895222"/>
              <a:gd name="connsiteY4" fmla="*/ 351961 h 1150439"/>
              <a:gd name="connsiteX5" fmla="*/ 0 w 32895222"/>
              <a:gd name="connsiteY5" fmla="*/ 334244 h 1150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895222" h="1150439">
                <a:moveTo>
                  <a:pt x="32895222" y="0"/>
                </a:moveTo>
                <a:cubicBezTo>
                  <a:pt x="32751123" y="424891"/>
                  <a:pt x="32283624" y="352474"/>
                  <a:pt x="32023862" y="358417"/>
                </a:cubicBezTo>
                <a:lnTo>
                  <a:pt x="2866818" y="351961"/>
                </a:lnTo>
                <a:cubicBezTo>
                  <a:pt x="2289604" y="385103"/>
                  <a:pt x="1915225" y="687617"/>
                  <a:pt x="1723616" y="1150439"/>
                </a:cubicBezTo>
                <a:cubicBezTo>
                  <a:pt x="1425262" y="446662"/>
                  <a:pt x="827902" y="351083"/>
                  <a:pt x="549262" y="351961"/>
                </a:cubicBezTo>
                <a:lnTo>
                  <a:pt x="0" y="334244"/>
                </a:lnTo>
              </a:path>
            </a:pathLst>
          </a:custGeom>
          <a:solidFill>
            <a:schemeClr val="bg1"/>
          </a:solidFill>
          <a:ln w="28575" cmpd="sng" algn="ctr">
            <a:solidFill>
              <a:schemeClr val="bg2"/>
            </a:solid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13" name="Picture 1" descr="HEALTHINEERSsignature"/>
          <p:cNvPicPr>
            <a:picLocks noChangeAspect="1" noChangeArrowheads="1"/>
          </p:cNvPicPr>
          <p:nvPr/>
        </p:nvPicPr>
        <p:blipFill>
          <a:blip r:embed="rId21" cstate="print">
            <a:extLst>
              <a:ext uri="{28A0092B-C50C-407E-A947-70E740481C1C}">
                <a14:useLocalDpi xmlns="" xmlns:a14="http://schemas.microsoft.com/office/drawing/2010/main" val="0"/>
              </a:ext>
            </a:extLst>
          </a:blip>
          <a:srcRect/>
          <a:stretch>
            <a:fillRect/>
          </a:stretch>
        </p:blipFill>
        <p:spPr bwMode="auto">
          <a:xfrm>
            <a:off x="2884607" y="6390083"/>
            <a:ext cx="1439134" cy="40426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660" r:id="rId1"/>
    <p:sldLayoutId id="2147483650" r:id="rId2"/>
    <p:sldLayoutId id="2147483672" r:id="rId3"/>
    <p:sldLayoutId id="2147483651" r:id="rId4"/>
    <p:sldLayoutId id="2147483670" r:id="rId5"/>
    <p:sldLayoutId id="2147483669" r:id="rId6"/>
    <p:sldLayoutId id="2147483668" r:id="rId7"/>
    <p:sldLayoutId id="2147483652" r:id="rId8"/>
    <p:sldLayoutId id="2147483653" r:id="rId9"/>
    <p:sldLayoutId id="2147483654" r:id="rId10"/>
    <p:sldLayoutId id="2147483655" r:id="rId11"/>
    <p:sldLayoutId id="2147483656" r:id="rId12"/>
    <p:sldLayoutId id="2147483657" r:id="rId13"/>
    <p:sldLayoutId id="2147483658" r:id="rId14"/>
    <p:sldLayoutId id="2147483659" r:id="rId15"/>
    <p:sldLayoutId id="2147483671" r:id="rId16"/>
  </p:sldLayoutIdLst>
  <p:txStyles>
    <p:titleStyle>
      <a:lvl1pPr algn="l" defTabSz="914400" rtl="0" eaLnBrk="1" fontAlgn="base" latinLnBrk="0" hangingPunct="1">
        <a:spcBef>
          <a:spcPct val="0"/>
        </a:spcBef>
        <a:spcAft>
          <a:spcPct val="0"/>
        </a:spcAft>
        <a:buNone/>
        <a:defRPr lang="en-US" sz="2200" b="1" kern="1200" dirty="0">
          <a:solidFill>
            <a:schemeClr val="tx1"/>
          </a:solidFill>
          <a:latin typeface="Arial" pitchFamily="34" charset="0"/>
          <a:ea typeface="+mj-ea"/>
          <a:cs typeface="Arial" pitchFamily="34" charset="0"/>
        </a:defRPr>
      </a:lvl1pPr>
    </p:titleStyle>
    <p:bodyStyle>
      <a:lvl1pPr marL="342900" indent="-342900" algn="l" defTabSz="914400" rtl="0" eaLnBrk="1" fontAlgn="base" latinLnBrk="0" hangingPunct="1">
        <a:spcBef>
          <a:spcPct val="0"/>
        </a:spcBef>
        <a:spcAft>
          <a:spcPts val="600"/>
        </a:spcAft>
        <a:buClr>
          <a:schemeClr val="accent2"/>
        </a:buClr>
        <a:buFont typeface="Wingdings" pitchFamily="2" charset="2"/>
        <a:buChar char="§"/>
        <a:defRPr lang="en-US" sz="1600" b="0" kern="1200" dirty="0" smtClean="0">
          <a:solidFill>
            <a:schemeClr val="tx1"/>
          </a:solidFill>
          <a:latin typeface="Arial" pitchFamily="34" charset="0"/>
          <a:ea typeface="+mn-ea"/>
          <a:cs typeface="Arial" pitchFamily="34" charset="0"/>
        </a:defRPr>
      </a:lvl1pPr>
      <a:lvl2pPr marL="742950" indent="-285750" algn="l" defTabSz="914400" rtl="0" eaLnBrk="1" fontAlgn="base" latinLnBrk="0" hangingPunct="1">
        <a:spcBef>
          <a:spcPct val="0"/>
        </a:spcBef>
        <a:spcAft>
          <a:spcPts val="600"/>
        </a:spcAft>
        <a:buClr>
          <a:schemeClr val="accent2"/>
        </a:buClr>
        <a:buFont typeface="Arial" pitchFamily="34" charset="0"/>
        <a:buChar char="–"/>
        <a:defRPr lang="en-US" sz="1600" b="0" kern="1200" dirty="0" smtClean="0">
          <a:solidFill>
            <a:schemeClr val="tx1"/>
          </a:solidFill>
          <a:latin typeface="Arial" pitchFamily="34" charset="0"/>
          <a:ea typeface="+mn-ea"/>
          <a:cs typeface="Arial" pitchFamily="34" charset="0"/>
        </a:defRPr>
      </a:lvl2pPr>
      <a:lvl3pPr marL="1025525" indent="-228600" algn="l" defTabSz="914400" rtl="0" eaLnBrk="1" fontAlgn="base" latinLnBrk="0" hangingPunct="1">
        <a:spcBef>
          <a:spcPct val="0"/>
        </a:spcBef>
        <a:spcAft>
          <a:spcPts val="600"/>
        </a:spcAft>
        <a:buClr>
          <a:schemeClr val="accent2"/>
        </a:buClr>
        <a:buFont typeface="Arial" pitchFamily="34" charset="0"/>
        <a:buChar char="•"/>
        <a:defRPr lang="en-US" sz="1400" b="0" kern="1200" dirty="0" smtClean="0">
          <a:solidFill>
            <a:schemeClr val="tx1"/>
          </a:solidFill>
          <a:latin typeface="Arial" pitchFamily="34" charset="0"/>
          <a:ea typeface="+mn-ea"/>
          <a:cs typeface="Arial" pitchFamily="34" charset="0"/>
        </a:defRPr>
      </a:lvl3pPr>
      <a:lvl4pPr marL="1317625" indent="-228600" algn="l" defTabSz="914400" rtl="0" eaLnBrk="1" fontAlgn="base" latinLnBrk="0" hangingPunct="1">
        <a:spcBef>
          <a:spcPct val="0"/>
        </a:spcBef>
        <a:spcAft>
          <a:spcPts val="600"/>
        </a:spcAft>
        <a:buClr>
          <a:schemeClr val="accent2"/>
        </a:buClr>
        <a:buFont typeface="Arial" pitchFamily="34" charset="0"/>
        <a:buChar char="–"/>
        <a:defRPr lang="en-US" sz="1200" b="0" kern="1200" dirty="0" smtClean="0">
          <a:solidFill>
            <a:schemeClr val="tx1"/>
          </a:solidFill>
          <a:latin typeface="Arial" pitchFamily="34" charset="0"/>
          <a:ea typeface="+mn-ea"/>
          <a:cs typeface="Arial" pitchFamily="34" charset="0"/>
        </a:defRPr>
      </a:lvl4pPr>
      <a:lvl5pPr marL="1541463" indent="-228600" algn="l" defTabSz="914400" rtl="0" eaLnBrk="1" fontAlgn="base" latinLnBrk="0" hangingPunct="1">
        <a:spcBef>
          <a:spcPct val="0"/>
        </a:spcBef>
        <a:spcAft>
          <a:spcPts val="600"/>
        </a:spcAft>
        <a:buClr>
          <a:schemeClr val="accent2"/>
        </a:buClr>
        <a:buFont typeface="Arial" pitchFamily="34" charset="0"/>
        <a:buChar char="•"/>
        <a:defRPr lang="en-US" sz="1200" b="0" kern="1200" dirty="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4" name="Rectangle 7"/>
          <p:cNvSpPr/>
          <p:nvPr>
            <p:custDataLst>
              <p:tags r:id="rId6"/>
            </p:custDataLst>
          </p:nvPr>
        </p:nvSpPr>
        <p:spPr bwMode="auto">
          <a:xfrm>
            <a:off x="-3890" y="2163291"/>
            <a:ext cx="9147240" cy="469860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1744042 w 12324337"/>
              <a:gd name="connsiteY7" fmla="*/ 1175529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233913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188049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188049 h 2958168"/>
              <a:gd name="connsiteX8" fmla="*/ 1763257 w 12324337"/>
              <a:gd name="connsiteY8" fmla="*/ 2791 h 2958168"/>
              <a:gd name="connsiteX0" fmla="*/ 1763257 w 12324337"/>
              <a:gd name="connsiteY0" fmla="*/ 2791 h 2958168"/>
              <a:gd name="connsiteX1" fmla="*/ 12323581 w 12324337"/>
              <a:gd name="connsiteY1" fmla="*/ 0 h 2958168"/>
              <a:gd name="connsiteX2" fmla="*/ 12323083 w 12324337"/>
              <a:gd name="connsiteY2" fmla="*/ 1476338 h 2958168"/>
              <a:gd name="connsiteX3" fmla="*/ 11050520 w 12324337"/>
              <a:gd name="connsiteY3" fmla="*/ 2153103 h 2958168"/>
              <a:gd name="connsiteX4" fmla="*/ 4079484 w 12324337"/>
              <a:gd name="connsiteY4" fmla="*/ 2159512 h 2958168"/>
              <a:gd name="connsiteX5" fmla="*/ 2942815 w 12324337"/>
              <a:gd name="connsiteY5" fmla="*/ 2958168 h 2958168"/>
              <a:gd name="connsiteX6" fmla="*/ 1761926 w 12324337"/>
              <a:gd name="connsiteY6" fmla="*/ 2174065 h 2958168"/>
              <a:gd name="connsiteX7" fmla="*/ 879592 w 12324337"/>
              <a:gd name="connsiteY7" fmla="*/ 2188049 h 2958168"/>
              <a:gd name="connsiteX8" fmla="*/ 1763257 w 12324337"/>
              <a:gd name="connsiteY8" fmla="*/ 2791 h 2958168"/>
              <a:gd name="connsiteX0" fmla="*/ 1763256 w 13203131"/>
              <a:gd name="connsiteY0" fmla="*/ 0 h 2958168"/>
              <a:gd name="connsiteX1" fmla="*/ 13202375 w 13203131"/>
              <a:gd name="connsiteY1" fmla="*/ 0 h 2958168"/>
              <a:gd name="connsiteX2" fmla="*/ 13201877 w 13203131"/>
              <a:gd name="connsiteY2" fmla="*/ 1476338 h 2958168"/>
              <a:gd name="connsiteX3" fmla="*/ 11929314 w 13203131"/>
              <a:gd name="connsiteY3" fmla="*/ 2153103 h 2958168"/>
              <a:gd name="connsiteX4" fmla="*/ 4958278 w 13203131"/>
              <a:gd name="connsiteY4" fmla="*/ 2159512 h 2958168"/>
              <a:gd name="connsiteX5" fmla="*/ 3821609 w 13203131"/>
              <a:gd name="connsiteY5" fmla="*/ 2958168 h 2958168"/>
              <a:gd name="connsiteX6" fmla="*/ 2640720 w 13203131"/>
              <a:gd name="connsiteY6" fmla="*/ 2174065 h 2958168"/>
              <a:gd name="connsiteX7" fmla="*/ 1758386 w 13203131"/>
              <a:gd name="connsiteY7" fmla="*/ 2188049 h 2958168"/>
              <a:gd name="connsiteX8" fmla="*/ 1763256 w 13203131"/>
              <a:gd name="connsiteY8" fmla="*/ 0 h 2958168"/>
              <a:gd name="connsiteX0" fmla="*/ 4870 w 11444745"/>
              <a:gd name="connsiteY0" fmla="*/ 0 h 2958168"/>
              <a:gd name="connsiteX1" fmla="*/ 11443989 w 11444745"/>
              <a:gd name="connsiteY1" fmla="*/ 0 h 2958168"/>
              <a:gd name="connsiteX2" fmla="*/ 11443491 w 11444745"/>
              <a:gd name="connsiteY2" fmla="*/ 1476338 h 2958168"/>
              <a:gd name="connsiteX3" fmla="*/ 10170928 w 11444745"/>
              <a:gd name="connsiteY3" fmla="*/ 2153103 h 2958168"/>
              <a:gd name="connsiteX4" fmla="*/ 3199892 w 11444745"/>
              <a:gd name="connsiteY4" fmla="*/ 2159512 h 2958168"/>
              <a:gd name="connsiteX5" fmla="*/ 2063223 w 11444745"/>
              <a:gd name="connsiteY5" fmla="*/ 2958168 h 2958168"/>
              <a:gd name="connsiteX6" fmla="*/ 882334 w 11444745"/>
              <a:gd name="connsiteY6" fmla="*/ 2174065 h 2958168"/>
              <a:gd name="connsiteX7" fmla="*/ 0 w 11444745"/>
              <a:gd name="connsiteY7" fmla="*/ 2188049 h 2958168"/>
              <a:gd name="connsiteX8" fmla="*/ 4870 w 11444745"/>
              <a:gd name="connsiteY8" fmla="*/ 0 h 2958168"/>
              <a:gd name="connsiteX0" fmla="*/ 4870 w 16276755"/>
              <a:gd name="connsiteY0" fmla="*/ 0 h 2958168"/>
              <a:gd name="connsiteX1" fmla="*/ 11443989 w 16276755"/>
              <a:gd name="connsiteY1" fmla="*/ 0 h 2958168"/>
              <a:gd name="connsiteX2" fmla="*/ 16275500 w 16276755"/>
              <a:gd name="connsiteY2" fmla="*/ 1268652 h 2958168"/>
              <a:gd name="connsiteX3" fmla="*/ 10170928 w 16276755"/>
              <a:gd name="connsiteY3" fmla="*/ 2153103 h 2958168"/>
              <a:gd name="connsiteX4" fmla="*/ 3199892 w 16276755"/>
              <a:gd name="connsiteY4" fmla="*/ 2159512 h 2958168"/>
              <a:gd name="connsiteX5" fmla="*/ 2063223 w 16276755"/>
              <a:gd name="connsiteY5" fmla="*/ 2958168 h 2958168"/>
              <a:gd name="connsiteX6" fmla="*/ 882334 w 16276755"/>
              <a:gd name="connsiteY6" fmla="*/ 2174065 h 2958168"/>
              <a:gd name="connsiteX7" fmla="*/ 0 w 16276755"/>
              <a:gd name="connsiteY7" fmla="*/ 2188049 h 2958168"/>
              <a:gd name="connsiteX8" fmla="*/ 4870 w 16276755"/>
              <a:gd name="connsiteY8" fmla="*/ 0 h 2958168"/>
              <a:gd name="connsiteX0" fmla="*/ 4870 w 16276755"/>
              <a:gd name="connsiteY0" fmla="*/ 0 h 2958168"/>
              <a:gd name="connsiteX1" fmla="*/ 11443989 w 16276755"/>
              <a:gd name="connsiteY1" fmla="*/ 0 h 2958168"/>
              <a:gd name="connsiteX2" fmla="*/ 16275500 w 16276755"/>
              <a:gd name="connsiteY2" fmla="*/ 1268652 h 2958168"/>
              <a:gd name="connsiteX3" fmla="*/ 15472016 w 16276755"/>
              <a:gd name="connsiteY3" fmla="*/ 2188049 h 2958168"/>
              <a:gd name="connsiteX4" fmla="*/ 3199892 w 16276755"/>
              <a:gd name="connsiteY4" fmla="*/ 2159512 h 2958168"/>
              <a:gd name="connsiteX5" fmla="*/ 2063223 w 16276755"/>
              <a:gd name="connsiteY5" fmla="*/ 2958168 h 2958168"/>
              <a:gd name="connsiteX6" fmla="*/ 882334 w 16276755"/>
              <a:gd name="connsiteY6" fmla="*/ 2174065 h 2958168"/>
              <a:gd name="connsiteX7" fmla="*/ 0 w 16276755"/>
              <a:gd name="connsiteY7" fmla="*/ 2188049 h 2958168"/>
              <a:gd name="connsiteX8" fmla="*/ 4870 w 16276755"/>
              <a:gd name="connsiteY8" fmla="*/ 0 h 2958168"/>
              <a:gd name="connsiteX0" fmla="*/ 4870 w 16278010"/>
              <a:gd name="connsiteY0" fmla="*/ 0 h 2958168"/>
              <a:gd name="connsiteX1" fmla="*/ 11443989 w 16278010"/>
              <a:gd name="connsiteY1" fmla="*/ 0 h 2958168"/>
              <a:gd name="connsiteX2" fmla="*/ 16276755 w 16278010"/>
              <a:gd name="connsiteY2" fmla="*/ 1717995 h 2958168"/>
              <a:gd name="connsiteX3" fmla="*/ 15472016 w 16278010"/>
              <a:gd name="connsiteY3" fmla="*/ 2188049 h 2958168"/>
              <a:gd name="connsiteX4" fmla="*/ 3199892 w 16278010"/>
              <a:gd name="connsiteY4" fmla="*/ 2159512 h 2958168"/>
              <a:gd name="connsiteX5" fmla="*/ 2063223 w 16278010"/>
              <a:gd name="connsiteY5" fmla="*/ 2958168 h 2958168"/>
              <a:gd name="connsiteX6" fmla="*/ 882334 w 16278010"/>
              <a:gd name="connsiteY6" fmla="*/ 2174065 h 2958168"/>
              <a:gd name="connsiteX7" fmla="*/ 0 w 16278010"/>
              <a:gd name="connsiteY7" fmla="*/ 2188049 h 2958168"/>
              <a:gd name="connsiteX8" fmla="*/ 4870 w 16278010"/>
              <a:gd name="connsiteY8" fmla="*/ 0 h 2958168"/>
              <a:gd name="connsiteX0" fmla="*/ 4870 w 16278010"/>
              <a:gd name="connsiteY0" fmla="*/ 0 h 2958168"/>
              <a:gd name="connsiteX1" fmla="*/ 11443989 w 16278010"/>
              <a:gd name="connsiteY1" fmla="*/ 0 h 2958168"/>
              <a:gd name="connsiteX2" fmla="*/ 16276755 w 16278010"/>
              <a:gd name="connsiteY2" fmla="*/ 1717995 h 2958168"/>
              <a:gd name="connsiteX3" fmla="*/ 15472016 w 16278010"/>
              <a:gd name="connsiteY3" fmla="*/ 2188049 h 2958168"/>
              <a:gd name="connsiteX4" fmla="*/ 3199892 w 16278010"/>
              <a:gd name="connsiteY4" fmla="*/ 2159512 h 2958168"/>
              <a:gd name="connsiteX5" fmla="*/ 2063223 w 16278010"/>
              <a:gd name="connsiteY5" fmla="*/ 2958168 h 2958168"/>
              <a:gd name="connsiteX6" fmla="*/ 882334 w 16278010"/>
              <a:gd name="connsiteY6" fmla="*/ 2174065 h 2958168"/>
              <a:gd name="connsiteX7" fmla="*/ 0 w 16278010"/>
              <a:gd name="connsiteY7" fmla="*/ 2188049 h 2958168"/>
              <a:gd name="connsiteX8" fmla="*/ 4870 w 16278010"/>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0 w 16278522"/>
              <a:gd name="connsiteY0" fmla="*/ 0 h 2958168"/>
              <a:gd name="connsiteX1" fmla="*/ 16278010 w 16278522"/>
              <a:gd name="connsiteY1" fmla="*/ 0 h 2958168"/>
              <a:gd name="connsiteX2" fmla="*/ 16276755 w 16278522"/>
              <a:gd name="connsiteY2" fmla="*/ 1717995 h 2958168"/>
              <a:gd name="connsiteX3" fmla="*/ 15472016 w 16278522"/>
              <a:gd name="connsiteY3" fmla="*/ 2188049 h 2958168"/>
              <a:gd name="connsiteX4" fmla="*/ 3199892 w 16278522"/>
              <a:gd name="connsiteY4" fmla="*/ 2159512 h 2958168"/>
              <a:gd name="connsiteX5" fmla="*/ 2063223 w 16278522"/>
              <a:gd name="connsiteY5" fmla="*/ 2958168 h 2958168"/>
              <a:gd name="connsiteX6" fmla="*/ 882334 w 16278522"/>
              <a:gd name="connsiteY6" fmla="*/ 2174065 h 2958168"/>
              <a:gd name="connsiteX7" fmla="*/ 0 w 16278522"/>
              <a:gd name="connsiteY7" fmla="*/ 2188049 h 2958168"/>
              <a:gd name="connsiteX8" fmla="*/ 4870 w 16278522"/>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88049 h 2958168"/>
              <a:gd name="connsiteX8" fmla="*/ 4872 w 16278524"/>
              <a:gd name="connsiteY8" fmla="*/ 0 h 2958168"/>
              <a:gd name="connsiteX0" fmla="*/ 1 w 16273653"/>
              <a:gd name="connsiteY0" fmla="*/ 0 h 2958168"/>
              <a:gd name="connsiteX1" fmla="*/ 16273141 w 16273653"/>
              <a:gd name="connsiteY1" fmla="*/ 0 h 2958168"/>
              <a:gd name="connsiteX2" fmla="*/ 16271886 w 16273653"/>
              <a:gd name="connsiteY2" fmla="*/ 1717995 h 2958168"/>
              <a:gd name="connsiteX3" fmla="*/ 15467147 w 16273653"/>
              <a:gd name="connsiteY3" fmla="*/ 2188049 h 2958168"/>
              <a:gd name="connsiteX4" fmla="*/ 3195023 w 16273653"/>
              <a:gd name="connsiteY4" fmla="*/ 2159512 h 2958168"/>
              <a:gd name="connsiteX5" fmla="*/ 2058354 w 16273653"/>
              <a:gd name="connsiteY5" fmla="*/ 2958168 h 2958168"/>
              <a:gd name="connsiteX6" fmla="*/ 877465 w 16273653"/>
              <a:gd name="connsiteY6" fmla="*/ 2174065 h 2958168"/>
              <a:gd name="connsiteX7" fmla="*/ 2 w 16273653"/>
              <a:gd name="connsiteY7" fmla="*/ 2188049 h 2958168"/>
              <a:gd name="connsiteX8" fmla="*/ 1 w 16273653"/>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76364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76364 h 2958168"/>
              <a:gd name="connsiteX8" fmla="*/ 4872 w 16278524"/>
              <a:gd name="connsiteY8" fmla="*/ 0 h 2958168"/>
              <a:gd name="connsiteX0" fmla="*/ 4872 w 16278524"/>
              <a:gd name="connsiteY0" fmla="*/ 0 h 2958168"/>
              <a:gd name="connsiteX1" fmla="*/ 16278012 w 16278524"/>
              <a:gd name="connsiteY1" fmla="*/ 0 h 2958168"/>
              <a:gd name="connsiteX2" fmla="*/ 16276757 w 16278524"/>
              <a:gd name="connsiteY2" fmla="*/ 1717995 h 2958168"/>
              <a:gd name="connsiteX3" fmla="*/ 15472018 w 16278524"/>
              <a:gd name="connsiteY3" fmla="*/ 2188049 h 2958168"/>
              <a:gd name="connsiteX4" fmla="*/ 3199894 w 16278524"/>
              <a:gd name="connsiteY4" fmla="*/ 2159512 h 2958168"/>
              <a:gd name="connsiteX5" fmla="*/ 2063225 w 16278524"/>
              <a:gd name="connsiteY5" fmla="*/ 2958168 h 2958168"/>
              <a:gd name="connsiteX6" fmla="*/ 882336 w 16278524"/>
              <a:gd name="connsiteY6" fmla="*/ 2174065 h 2958168"/>
              <a:gd name="connsiteX7" fmla="*/ 0 w 16278524"/>
              <a:gd name="connsiteY7" fmla="*/ 2176364 h 2958168"/>
              <a:gd name="connsiteX8" fmla="*/ 4872 w 16278524"/>
              <a:gd name="connsiteY8" fmla="*/ 0 h 2958168"/>
              <a:gd name="connsiteX0" fmla="*/ 1 w 16273653"/>
              <a:gd name="connsiteY0" fmla="*/ 0 h 2958168"/>
              <a:gd name="connsiteX1" fmla="*/ 16273141 w 16273653"/>
              <a:gd name="connsiteY1" fmla="*/ 0 h 2958168"/>
              <a:gd name="connsiteX2" fmla="*/ 16271886 w 16273653"/>
              <a:gd name="connsiteY2" fmla="*/ 1717995 h 2958168"/>
              <a:gd name="connsiteX3" fmla="*/ 15467147 w 16273653"/>
              <a:gd name="connsiteY3" fmla="*/ 2188049 h 2958168"/>
              <a:gd name="connsiteX4" fmla="*/ 3195023 w 16273653"/>
              <a:gd name="connsiteY4" fmla="*/ 2159512 h 2958168"/>
              <a:gd name="connsiteX5" fmla="*/ 2058354 w 16273653"/>
              <a:gd name="connsiteY5" fmla="*/ 2958168 h 2958168"/>
              <a:gd name="connsiteX6" fmla="*/ 877465 w 16273653"/>
              <a:gd name="connsiteY6" fmla="*/ 2174065 h 2958168"/>
              <a:gd name="connsiteX7" fmla="*/ 2 w 16273653"/>
              <a:gd name="connsiteY7" fmla="*/ 2195845 h 2958168"/>
              <a:gd name="connsiteX8" fmla="*/ 1 w 16273653"/>
              <a:gd name="connsiteY8" fmla="*/ 0 h 2958168"/>
              <a:gd name="connsiteX0" fmla="*/ 1 w 21695427"/>
              <a:gd name="connsiteY0" fmla="*/ 0 h 2958168"/>
              <a:gd name="connsiteX1" fmla="*/ 16273141 w 21695427"/>
              <a:gd name="connsiteY1" fmla="*/ 0 h 2958168"/>
              <a:gd name="connsiteX2" fmla="*/ 21694172 w 21695427"/>
              <a:gd name="connsiteY2" fmla="*/ 1820764 h 2958168"/>
              <a:gd name="connsiteX3" fmla="*/ 15467147 w 21695427"/>
              <a:gd name="connsiteY3" fmla="*/ 2188049 h 2958168"/>
              <a:gd name="connsiteX4" fmla="*/ 3195023 w 21695427"/>
              <a:gd name="connsiteY4" fmla="*/ 2159512 h 2958168"/>
              <a:gd name="connsiteX5" fmla="*/ 2058354 w 21695427"/>
              <a:gd name="connsiteY5" fmla="*/ 2958168 h 2958168"/>
              <a:gd name="connsiteX6" fmla="*/ 877465 w 21695427"/>
              <a:gd name="connsiteY6" fmla="*/ 2174065 h 2958168"/>
              <a:gd name="connsiteX7" fmla="*/ 2 w 21695427"/>
              <a:gd name="connsiteY7" fmla="*/ 2195845 h 2958168"/>
              <a:gd name="connsiteX8" fmla="*/ 1 w 21695427"/>
              <a:gd name="connsiteY8" fmla="*/ 0 h 2958168"/>
              <a:gd name="connsiteX0" fmla="*/ 1 w 21695427"/>
              <a:gd name="connsiteY0" fmla="*/ 0 h 2958168"/>
              <a:gd name="connsiteX1" fmla="*/ 21694172 w 21695427"/>
              <a:gd name="connsiteY1" fmla="*/ 0 h 2958168"/>
              <a:gd name="connsiteX2" fmla="*/ 21694172 w 21695427"/>
              <a:gd name="connsiteY2" fmla="*/ 1820764 h 2958168"/>
              <a:gd name="connsiteX3" fmla="*/ 15467147 w 21695427"/>
              <a:gd name="connsiteY3" fmla="*/ 2188049 h 2958168"/>
              <a:gd name="connsiteX4" fmla="*/ 3195023 w 21695427"/>
              <a:gd name="connsiteY4" fmla="*/ 2159512 h 2958168"/>
              <a:gd name="connsiteX5" fmla="*/ 2058354 w 21695427"/>
              <a:gd name="connsiteY5" fmla="*/ 2958168 h 2958168"/>
              <a:gd name="connsiteX6" fmla="*/ 877465 w 21695427"/>
              <a:gd name="connsiteY6" fmla="*/ 2174065 h 2958168"/>
              <a:gd name="connsiteX7" fmla="*/ 2 w 21695427"/>
              <a:gd name="connsiteY7" fmla="*/ 2195845 h 2958168"/>
              <a:gd name="connsiteX8" fmla="*/ 1 w 21695427"/>
              <a:gd name="connsiteY8" fmla="*/ 0 h 2958168"/>
              <a:gd name="connsiteX0" fmla="*/ 1 w 21695939"/>
              <a:gd name="connsiteY0" fmla="*/ 0 h 2958168"/>
              <a:gd name="connsiteX1" fmla="*/ 21695427 w 21695939"/>
              <a:gd name="connsiteY1" fmla="*/ 0 h 2958168"/>
              <a:gd name="connsiteX2" fmla="*/ 21694172 w 21695939"/>
              <a:gd name="connsiteY2" fmla="*/ 1820764 h 2958168"/>
              <a:gd name="connsiteX3" fmla="*/ 15467147 w 21695939"/>
              <a:gd name="connsiteY3" fmla="*/ 2188049 h 2958168"/>
              <a:gd name="connsiteX4" fmla="*/ 3195023 w 21695939"/>
              <a:gd name="connsiteY4" fmla="*/ 2159512 h 2958168"/>
              <a:gd name="connsiteX5" fmla="*/ 2058354 w 21695939"/>
              <a:gd name="connsiteY5" fmla="*/ 2958168 h 2958168"/>
              <a:gd name="connsiteX6" fmla="*/ 877465 w 21695939"/>
              <a:gd name="connsiteY6" fmla="*/ 2174065 h 2958168"/>
              <a:gd name="connsiteX7" fmla="*/ 2 w 21695939"/>
              <a:gd name="connsiteY7" fmla="*/ 2195845 h 2958168"/>
              <a:gd name="connsiteX8" fmla="*/ 1 w 21695939"/>
              <a:gd name="connsiteY8" fmla="*/ 0 h 2958168"/>
              <a:gd name="connsiteX0" fmla="*/ 1 w 21695939"/>
              <a:gd name="connsiteY0" fmla="*/ 0 h 2958168"/>
              <a:gd name="connsiteX1" fmla="*/ 21695427 w 21695939"/>
              <a:gd name="connsiteY1" fmla="*/ 0 h 2958168"/>
              <a:gd name="connsiteX2" fmla="*/ 21694172 w 21695939"/>
              <a:gd name="connsiteY2" fmla="*/ 1820764 h 2958168"/>
              <a:gd name="connsiteX3" fmla="*/ 20899883 w 21695939"/>
              <a:gd name="connsiteY3" fmla="*/ 2195845 h 2958168"/>
              <a:gd name="connsiteX4" fmla="*/ 3195023 w 21695939"/>
              <a:gd name="connsiteY4" fmla="*/ 2159512 h 2958168"/>
              <a:gd name="connsiteX5" fmla="*/ 2058354 w 21695939"/>
              <a:gd name="connsiteY5" fmla="*/ 2958168 h 2958168"/>
              <a:gd name="connsiteX6" fmla="*/ 877465 w 21695939"/>
              <a:gd name="connsiteY6" fmla="*/ 2174065 h 2958168"/>
              <a:gd name="connsiteX7" fmla="*/ 2 w 21695939"/>
              <a:gd name="connsiteY7" fmla="*/ 2195845 h 2958168"/>
              <a:gd name="connsiteX8" fmla="*/ 1 w 21695939"/>
              <a:gd name="connsiteY8" fmla="*/ 0 h 2958168"/>
              <a:gd name="connsiteX0" fmla="*/ 2 w 21700437"/>
              <a:gd name="connsiteY0" fmla="*/ 0 h 4325468"/>
              <a:gd name="connsiteX1" fmla="*/ 21699925 w 21700437"/>
              <a:gd name="connsiteY1" fmla="*/ 1367300 h 4325468"/>
              <a:gd name="connsiteX2" fmla="*/ 21698670 w 21700437"/>
              <a:gd name="connsiteY2" fmla="*/ 3188064 h 4325468"/>
              <a:gd name="connsiteX3" fmla="*/ 20904381 w 21700437"/>
              <a:gd name="connsiteY3" fmla="*/ 3563145 h 4325468"/>
              <a:gd name="connsiteX4" fmla="*/ 3199521 w 21700437"/>
              <a:gd name="connsiteY4" fmla="*/ 3526812 h 4325468"/>
              <a:gd name="connsiteX5" fmla="*/ 2062852 w 21700437"/>
              <a:gd name="connsiteY5" fmla="*/ 4325468 h 4325468"/>
              <a:gd name="connsiteX6" fmla="*/ 881963 w 21700437"/>
              <a:gd name="connsiteY6" fmla="*/ 3541365 h 4325468"/>
              <a:gd name="connsiteX7" fmla="*/ 4500 w 21700437"/>
              <a:gd name="connsiteY7" fmla="*/ 3563145 h 4325468"/>
              <a:gd name="connsiteX8" fmla="*/ 2 w 21700437"/>
              <a:gd name="connsiteY8" fmla="*/ 0 h 4325468"/>
              <a:gd name="connsiteX0" fmla="*/ 2 w 21699925"/>
              <a:gd name="connsiteY0" fmla="*/ 0 h 4325468"/>
              <a:gd name="connsiteX1" fmla="*/ 21698669 w 21699925"/>
              <a:gd name="connsiteY1" fmla="*/ 0 h 4325468"/>
              <a:gd name="connsiteX2" fmla="*/ 21698670 w 21699925"/>
              <a:gd name="connsiteY2" fmla="*/ 3188064 h 4325468"/>
              <a:gd name="connsiteX3" fmla="*/ 20904381 w 21699925"/>
              <a:gd name="connsiteY3" fmla="*/ 3563145 h 4325468"/>
              <a:gd name="connsiteX4" fmla="*/ 3199521 w 21699925"/>
              <a:gd name="connsiteY4" fmla="*/ 3526812 h 4325468"/>
              <a:gd name="connsiteX5" fmla="*/ 2062852 w 21699925"/>
              <a:gd name="connsiteY5" fmla="*/ 4325468 h 4325468"/>
              <a:gd name="connsiteX6" fmla="*/ 881963 w 21699925"/>
              <a:gd name="connsiteY6" fmla="*/ 3541365 h 4325468"/>
              <a:gd name="connsiteX7" fmla="*/ 4500 w 21699925"/>
              <a:gd name="connsiteY7" fmla="*/ 3563145 h 4325468"/>
              <a:gd name="connsiteX8" fmla="*/ 2 w 21699925"/>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1918176 w 22713720"/>
              <a:gd name="connsiteY3" fmla="*/ 3563145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1018295 w 22713720"/>
              <a:gd name="connsiteY7" fmla="*/ 3563145 h 4325468"/>
              <a:gd name="connsiteX8" fmla="*/ 3 w 22713720"/>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1918176 w 22713720"/>
              <a:gd name="connsiteY3" fmla="*/ 3563145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0 w 22713720"/>
              <a:gd name="connsiteY7" fmla="*/ 3529270 h 4325468"/>
              <a:gd name="connsiteX8" fmla="*/ 3 w 22713720"/>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1918176 w 22713720"/>
              <a:gd name="connsiteY3" fmla="*/ 3563145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2 w 22713720"/>
              <a:gd name="connsiteY7" fmla="*/ 3551158 h 4325468"/>
              <a:gd name="connsiteX8" fmla="*/ 3 w 22713720"/>
              <a:gd name="connsiteY8" fmla="*/ 0 h 4325468"/>
              <a:gd name="connsiteX0" fmla="*/ 3 w 22713720"/>
              <a:gd name="connsiteY0" fmla="*/ 0 h 4325468"/>
              <a:gd name="connsiteX1" fmla="*/ 22712464 w 22713720"/>
              <a:gd name="connsiteY1" fmla="*/ 0 h 4325468"/>
              <a:gd name="connsiteX2" fmla="*/ 22712465 w 22713720"/>
              <a:gd name="connsiteY2" fmla="*/ 3188064 h 4325468"/>
              <a:gd name="connsiteX3" fmla="*/ 20899886 w 22713720"/>
              <a:gd name="connsiteY3" fmla="*/ 3551158 h 4325468"/>
              <a:gd name="connsiteX4" fmla="*/ 4213316 w 22713720"/>
              <a:gd name="connsiteY4" fmla="*/ 3526812 h 4325468"/>
              <a:gd name="connsiteX5" fmla="*/ 3076647 w 22713720"/>
              <a:gd name="connsiteY5" fmla="*/ 4325468 h 4325468"/>
              <a:gd name="connsiteX6" fmla="*/ 1895758 w 22713720"/>
              <a:gd name="connsiteY6" fmla="*/ 3541365 h 4325468"/>
              <a:gd name="connsiteX7" fmla="*/ 2 w 22713720"/>
              <a:gd name="connsiteY7" fmla="*/ 3551158 h 4325468"/>
              <a:gd name="connsiteX8" fmla="*/ 3 w 22713720"/>
              <a:gd name="connsiteY8" fmla="*/ 0 h 4325468"/>
              <a:gd name="connsiteX0" fmla="*/ 3 w 22712977"/>
              <a:gd name="connsiteY0" fmla="*/ 0 h 4325468"/>
              <a:gd name="connsiteX1" fmla="*/ 22712464 w 22712977"/>
              <a:gd name="connsiteY1" fmla="*/ 0 h 4325468"/>
              <a:gd name="connsiteX2" fmla="*/ 21694177 w 22712977"/>
              <a:gd name="connsiteY2" fmla="*/ 3166173 h 4325468"/>
              <a:gd name="connsiteX3" fmla="*/ 20899886 w 22712977"/>
              <a:gd name="connsiteY3" fmla="*/ 3551158 h 4325468"/>
              <a:gd name="connsiteX4" fmla="*/ 4213316 w 22712977"/>
              <a:gd name="connsiteY4" fmla="*/ 3526812 h 4325468"/>
              <a:gd name="connsiteX5" fmla="*/ 3076647 w 22712977"/>
              <a:gd name="connsiteY5" fmla="*/ 4325468 h 4325468"/>
              <a:gd name="connsiteX6" fmla="*/ 1895758 w 22712977"/>
              <a:gd name="connsiteY6" fmla="*/ 3541365 h 4325468"/>
              <a:gd name="connsiteX7" fmla="*/ 2 w 22712977"/>
              <a:gd name="connsiteY7" fmla="*/ 3551158 h 4325468"/>
              <a:gd name="connsiteX8" fmla="*/ 3 w 22712977"/>
              <a:gd name="connsiteY8" fmla="*/ 0 h 4325468"/>
              <a:gd name="connsiteX0" fmla="*/ 3 w 21695432"/>
              <a:gd name="connsiteY0" fmla="*/ 0 h 4325468"/>
              <a:gd name="connsiteX1" fmla="*/ 21153955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895758 w 21695432"/>
              <a:gd name="connsiteY6" fmla="*/ 3541365 h 4325468"/>
              <a:gd name="connsiteX7" fmla="*/ 2 w 21695432"/>
              <a:gd name="connsiteY7" fmla="*/ 3551158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895758 w 21695432"/>
              <a:gd name="connsiteY6" fmla="*/ 3541365 h 4325468"/>
              <a:gd name="connsiteX7" fmla="*/ 2 w 21695432"/>
              <a:gd name="connsiteY7" fmla="*/ 3551158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895758 w 21695432"/>
              <a:gd name="connsiteY6" fmla="*/ 3541365 h 4325468"/>
              <a:gd name="connsiteX7" fmla="*/ 5 w 21695432"/>
              <a:gd name="connsiteY7" fmla="*/ 3526990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3316 w 21695432"/>
              <a:gd name="connsiteY4" fmla="*/ 3526812 h 4325468"/>
              <a:gd name="connsiteX5" fmla="*/ 3076647 w 21695432"/>
              <a:gd name="connsiteY5" fmla="*/ 4325468 h 4325468"/>
              <a:gd name="connsiteX6" fmla="*/ 1902293 w 21695432"/>
              <a:gd name="connsiteY6" fmla="*/ 3526990 h 4325468"/>
              <a:gd name="connsiteX7" fmla="*/ 5 w 21695432"/>
              <a:gd name="connsiteY7" fmla="*/ 3526990 h 4325468"/>
              <a:gd name="connsiteX8" fmla="*/ 3 w 21695432"/>
              <a:gd name="connsiteY8" fmla="*/ 0 h 4325468"/>
              <a:gd name="connsiteX0" fmla="*/ 3 w 21695432"/>
              <a:gd name="connsiteY0" fmla="*/ 0 h 4325468"/>
              <a:gd name="connsiteX1" fmla="*/ 21694177 w 21695432"/>
              <a:gd name="connsiteY1" fmla="*/ 21891 h 4325468"/>
              <a:gd name="connsiteX2" fmla="*/ 21694177 w 21695432"/>
              <a:gd name="connsiteY2" fmla="*/ 3166173 h 4325468"/>
              <a:gd name="connsiteX3" fmla="*/ 20899886 w 21695432"/>
              <a:gd name="connsiteY3" fmla="*/ 3551158 h 4325468"/>
              <a:gd name="connsiteX4" fmla="*/ 4219849 w 21695432"/>
              <a:gd name="connsiteY4" fmla="*/ 3526990 h 4325468"/>
              <a:gd name="connsiteX5" fmla="*/ 3076647 w 21695432"/>
              <a:gd name="connsiteY5" fmla="*/ 4325468 h 4325468"/>
              <a:gd name="connsiteX6" fmla="*/ 1902293 w 21695432"/>
              <a:gd name="connsiteY6" fmla="*/ 3526990 h 4325468"/>
              <a:gd name="connsiteX7" fmla="*/ 5 w 21695432"/>
              <a:gd name="connsiteY7" fmla="*/ 3526990 h 4325468"/>
              <a:gd name="connsiteX8" fmla="*/ 3 w 21695432"/>
              <a:gd name="connsiteY8" fmla="*/ 0 h 4325468"/>
              <a:gd name="connsiteX0" fmla="*/ 0 w 21725855"/>
              <a:gd name="connsiteY0" fmla="*/ 10139197 h 10229976"/>
              <a:gd name="connsiteX1" fmla="*/ 21725167 w 21725855"/>
              <a:gd name="connsiteY1" fmla="*/ 3 h 10229976"/>
              <a:gd name="connsiteX2" fmla="*/ 21725167 w 21725855"/>
              <a:gd name="connsiteY2" fmla="*/ 3144285 h 10229976"/>
              <a:gd name="connsiteX3" fmla="*/ 20930876 w 21725855"/>
              <a:gd name="connsiteY3" fmla="*/ 3529270 h 10229976"/>
              <a:gd name="connsiteX4" fmla="*/ 4250839 w 21725855"/>
              <a:gd name="connsiteY4" fmla="*/ 3505102 h 10229976"/>
              <a:gd name="connsiteX5" fmla="*/ 3107637 w 21725855"/>
              <a:gd name="connsiteY5" fmla="*/ 4303580 h 10229976"/>
              <a:gd name="connsiteX6" fmla="*/ 1933283 w 21725855"/>
              <a:gd name="connsiteY6" fmla="*/ 3505102 h 10229976"/>
              <a:gd name="connsiteX7" fmla="*/ 30995 w 21725855"/>
              <a:gd name="connsiteY7" fmla="*/ 3505102 h 10229976"/>
              <a:gd name="connsiteX8" fmla="*/ 0 w 21725855"/>
              <a:gd name="connsiteY8" fmla="*/ 10139197 h 10229976"/>
              <a:gd name="connsiteX0" fmla="*/ 0 w 21725203"/>
              <a:gd name="connsiteY0" fmla="*/ 6995113 h 7085892"/>
              <a:gd name="connsiteX1" fmla="*/ 21694175 w 21725203"/>
              <a:gd name="connsiteY1" fmla="*/ 6952895 h 7085892"/>
              <a:gd name="connsiteX2" fmla="*/ 21725167 w 21725203"/>
              <a:gd name="connsiteY2" fmla="*/ 201 h 7085892"/>
              <a:gd name="connsiteX3" fmla="*/ 20930876 w 21725203"/>
              <a:gd name="connsiteY3" fmla="*/ 385186 h 7085892"/>
              <a:gd name="connsiteX4" fmla="*/ 4250839 w 21725203"/>
              <a:gd name="connsiteY4" fmla="*/ 361018 h 7085892"/>
              <a:gd name="connsiteX5" fmla="*/ 3107637 w 21725203"/>
              <a:gd name="connsiteY5" fmla="*/ 1159496 h 7085892"/>
              <a:gd name="connsiteX6" fmla="*/ 1933283 w 21725203"/>
              <a:gd name="connsiteY6" fmla="*/ 361018 h 7085892"/>
              <a:gd name="connsiteX7" fmla="*/ 30995 w 21725203"/>
              <a:gd name="connsiteY7" fmla="*/ 361018 h 7085892"/>
              <a:gd name="connsiteX8" fmla="*/ 0 w 21725203"/>
              <a:gd name="connsiteY8" fmla="*/ 6995113 h 7085892"/>
              <a:gd name="connsiteX0" fmla="*/ 0 w 21725203"/>
              <a:gd name="connsiteY0" fmla="*/ 6995113 h 7085892"/>
              <a:gd name="connsiteX1" fmla="*/ 21694175 w 21725203"/>
              <a:gd name="connsiteY1" fmla="*/ 6888786 h 7085892"/>
              <a:gd name="connsiteX2" fmla="*/ 21725167 w 21725203"/>
              <a:gd name="connsiteY2" fmla="*/ 201 h 7085892"/>
              <a:gd name="connsiteX3" fmla="*/ 20930876 w 21725203"/>
              <a:gd name="connsiteY3" fmla="*/ 385186 h 7085892"/>
              <a:gd name="connsiteX4" fmla="*/ 4250839 w 21725203"/>
              <a:gd name="connsiteY4" fmla="*/ 361018 h 7085892"/>
              <a:gd name="connsiteX5" fmla="*/ 3107637 w 21725203"/>
              <a:gd name="connsiteY5" fmla="*/ 1159496 h 7085892"/>
              <a:gd name="connsiteX6" fmla="*/ 1933283 w 21725203"/>
              <a:gd name="connsiteY6" fmla="*/ 361018 h 7085892"/>
              <a:gd name="connsiteX7" fmla="*/ 30995 w 21725203"/>
              <a:gd name="connsiteY7" fmla="*/ 361018 h 7085892"/>
              <a:gd name="connsiteX8" fmla="*/ 0 w 21725203"/>
              <a:gd name="connsiteY8" fmla="*/ 6995113 h 7085892"/>
              <a:gd name="connsiteX0" fmla="*/ 0 w 21725203"/>
              <a:gd name="connsiteY0" fmla="*/ 6995113 h 7085892"/>
              <a:gd name="connsiteX1" fmla="*/ 21694175 w 21725203"/>
              <a:gd name="connsiteY1" fmla="*/ 6920841 h 7085892"/>
              <a:gd name="connsiteX2" fmla="*/ 21725167 w 21725203"/>
              <a:gd name="connsiteY2" fmla="*/ 201 h 7085892"/>
              <a:gd name="connsiteX3" fmla="*/ 20930876 w 21725203"/>
              <a:gd name="connsiteY3" fmla="*/ 385186 h 7085892"/>
              <a:gd name="connsiteX4" fmla="*/ 4250839 w 21725203"/>
              <a:gd name="connsiteY4" fmla="*/ 361018 h 7085892"/>
              <a:gd name="connsiteX5" fmla="*/ 3107637 w 21725203"/>
              <a:gd name="connsiteY5" fmla="*/ 1159496 h 7085892"/>
              <a:gd name="connsiteX6" fmla="*/ 1933283 w 21725203"/>
              <a:gd name="connsiteY6" fmla="*/ 361018 h 7085892"/>
              <a:gd name="connsiteX7" fmla="*/ 30995 w 21725203"/>
              <a:gd name="connsiteY7" fmla="*/ 361018 h 7085892"/>
              <a:gd name="connsiteX8" fmla="*/ 0 w 21725203"/>
              <a:gd name="connsiteY8" fmla="*/ 6995113 h 7085892"/>
              <a:gd name="connsiteX0" fmla="*/ 0 w 21756164"/>
              <a:gd name="connsiteY0" fmla="*/ 6995113 h 7085892"/>
              <a:gd name="connsiteX1" fmla="*/ 21756159 w 21756164"/>
              <a:gd name="connsiteY1" fmla="*/ 6952895 h 7085892"/>
              <a:gd name="connsiteX2" fmla="*/ 21725167 w 21756164"/>
              <a:gd name="connsiteY2" fmla="*/ 201 h 7085892"/>
              <a:gd name="connsiteX3" fmla="*/ 20930876 w 21756164"/>
              <a:gd name="connsiteY3" fmla="*/ 385186 h 7085892"/>
              <a:gd name="connsiteX4" fmla="*/ 4250839 w 21756164"/>
              <a:gd name="connsiteY4" fmla="*/ 361018 h 7085892"/>
              <a:gd name="connsiteX5" fmla="*/ 3107637 w 21756164"/>
              <a:gd name="connsiteY5" fmla="*/ 1159496 h 7085892"/>
              <a:gd name="connsiteX6" fmla="*/ 1933283 w 21756164"/>
              <a:gd name="connsiteY6" fmla="*/ 361018 h 7085892"/>
              <a:gd name="connsiteX7" fmla="*/ 30995 w 21756164"/>
              <a:gd name="connsiteY7" fmla="*/ 361018 h 7085892"/>
              <a:gd name="connsiteX8" fmla="*/ 0 w 21756164"/>
              <a:gd name="connsiteY8" fmla="*/ 6995113 h 7085892"/>
              <a:gd name="connsiteX0" fmla="*/ 0 w 21756164"/>
              <a:gd name="connsiteY0" fmla="*/ 6995113 h 7086228"/>
              <a:gd name="connsiteX1" fmla="*/ 21756159 w 21756164"/>
              <a:gd name="connsiteY1" fmla="*/ 6952895 h 7086228"/>
              <a:gd name="connsiteX2" fmla="*/ 21725167 w 21756164"/>
              <a:gd name="connsiteY2" fmla="*/ 201 h 7086228"/>
              <a:gd name="connsiteX3" fmla="*/ 20930876 w 21756164"/>
              <a:gd name="connsiteY3" fmla="*/ 385186 h 7086228"/>
              <a:gd name="connsiteX4" fmla="*/ 4250839 w 21756164"/>
              <a:gd name="connsiteY4" fmla="*/ 361018 h 7086228"/>
              <a:gd name="connsiteX5" fmla="*/ 3107637 w 21756164"/>
              <a:gd name="connsiteY5" fmla="*/ 1159496 h 7086228"/>
              <a:gd name="connsiteX6" fmla="*/ 1933283 w 21756164"/>
              <a:gd name="connsiteY6" fmla="*/ 361018 h 7086228"/>
              <a:gd name="connsiteX7" fmla="*/ 2 w 21756164"/>
              <a:gd name="connsiteY7" fmla="*/ 393072 h 7086228"/>
              <a:gd name="connsiteX8" fmla="*/ 0 w 21756164"/>
              <a:gd name="connsiteY8" fmla="*/ 6995113 h 7086228"/>
              <a:gd name="connsiteX0" fmla="*/ 0 w 21756164"/>
              <a:gd name="connsiteY0" fmla="*/ 6995113 h 7086157"/>
              <a:gd name="connsiteX1" fmla="*/ 21756159 w 21756164"/>
              <a:gd name="connsiteY1" fmla="*/ 6952895 h 7086157"/>
              <a:gd name="connsiteX2" fmla="*/ 21725167 w 21756164"/>
              <a:gd name="connsiteY2" fmla="*/ 201 h 7086157"/>
              <a:gd name="connsiteX3" fmla="*/ 20930876 w 21756164"/>
              <a:gd name="connsiteY3" fmla="*/ 385186 h 7086157"/>
              <a:gd name="connsiteX4" fmla="*/ 4250839 w 21756164"/>
              <a:gd name="connsiteY4" fmla="*/ 361018 h 7086157"/>
              <a:gd name="connsiteX5" fmla="*/ 3107637 w 21756164"/>
              <a:gd name="connsiteY5" fmla="*/ 1159496 h 7086157"/>
              <a:gd name="connsiteX6" fmla="*/ 1933283 w 21756164"/>
              <a:gd name="connsiteY6" fmla="*/ 361018 h 7086157"/>
              <a:gd name="connsiteX7" fmla="*/ 26140 w 21756164"/>
              <a:gd name="connsiteY7" fmla="*/ 386312 h 7086157"/>
              <a:gd name="connsiteX8" fmla="*/ 0 w 21756164"/>
              <a:gd name="connsiteY8" fmla="*/ 6995113 h 7086157"/>
              <a:gd name="connsiteX0" fmla="*/ 0 w 21756164"/>
              <a:gd name="connsiteY0" fmla="*/ 6995113 h 7085875"/>
              <a:gd name="connsiteX1" fmla="*/ 21756159 w 21756164"/>
              <a:gd name="connsiteY1" fmla="*/ 6952895 h 7085875"/>
              <a:gd name="connsiteX2" fmla="*/ 21725167 w 21756164"/>
              <a:gd name="connsiteY2" fmla="*/ 201 h 7085875"/>
              <a:gd name="connsiteX3" fmla="*/ 20930876 w 21756164"/>
              <a:gd name="connsiteY3" fmla="*/ 385186 h 7085875"/>
              <a:gd name="connsiteX4" fmla="*/ 4250839 w 21756164"/>
              <a:gd name="connsiteY4" fmla="*/ 361018 h 7085875"/>
              <a:gd name="connsiteX5" fmla="*/ 3107637 w 21756164"/>
              <a:gd name="connsiteY5" fmla="*/ 1159496 h 7085875"/>
              <a:gd name="connsiteX6" fmla="*/ 1933283 w 21756164"/>
              <a:gd name="connsiteY6" fmla="*/ 361018 h 7085875"/>
              <a:gd name="connsiteX7" fmla="*/ 26140 w 21756164"/>
              <a:gd name="connsiteY7" fmla="*/ 359281 h 7085875"/>
              <a:gd name="connsiteX8" fmla="*/ 0 w 21756164"/>
              <a:gd name="connsiteY8" fmla="*/ 6995113 h 7085875"/>
              <a:gd name="connsiteX0" fmla="*/ 472961 w 21730024"/>
              <a:gd name="connsiteY0" fmla="*/ 6272426 h 6953376"/>
              <a:gd name="connsiteX1" fmla="*/ 21730019 w 21730024"/>
              <a:gd name="connsiteY1" fmla="*/ 6952895 h 6953376"/>
              <a:gd name="connsiteX2" fmla="*/ 21699027 w 21730024"/>
              <a:gd name="connsiteY2" fmla="*/ 201 h 6953376"/>
              <a:gd name="connsiteX3" fmla="*/ 20904736 w 21730024"/>
              <a:gd name="connsiteY3" fmla="*/ 385186 h 6953376"/>
              <a:gd name="connsiteX4" fmla="*/ 4224699 w 21730024"/>
              <a:gd name="connsiteY4" fmla="*/ 361018 h 6953376"/>
              <a:gd name="connsiteX5" fmla="*/ 3081497 w 21730024"/>
              <a:gd name="connsiteY5" fmla="*/ 1159496 h 6953376"/>
              <a:gd name="connsiteX6" fmla="*/ 1907143 w 21730024"/>
              <a:gd name="connsiteY6" fmla="*/ 361018 h 6953376"/>
              <a:gd name="connsiteX7" fmla="*/ 0 w 21730024"/>
              <a:gd name="connsiteY7" fmla="*/ 359281 h 6953376"/>
              <a:gd name="connsiteX8" fmla="*/ 472961 w 21730024"/>
              <a:gd name="connsiteY8" fmla="*/ 6272426 h 6953376"/>
              <a:gd name="connsiteX0" fmla="*/ 479 w 21730024"/>
              <a:gd name="connsiteY0" fmla="*/ 6946935 h 7038202"/>
              <a:gd name="connsiteX1" fmla="*/ 21730019 w 21730024"/>
              <a:gd name="connsiteY1" fmla="*/ 6952895 h 7038202"/>
              <a:gd name="connsiteX2" fmla="*/ 21699027 w 21730024"/>
              <a:gd name="connsiteY2" fmla="*/ 201 h 7038202"/>
              <a:gd name="connsiteX3" fmla="*/ 20904736 w 21730024"/>
              <a:gd name="connsiteY3" fmla="*/ 385186 h 7038202"/>
              <a:gd name="connsiteX4" fmla="*/ 4224699 w 21730024"/>
              <a:gd name="connsiteY4" fmla="*/ 361018 h 7038202"/>
              <a:gd name="connsiteX5" fmla="*/ 3081497 w 21730024"/>
              <a:gd name="connsiteY5" fmla="*/ 1159496 h 7038202"/>
              <a:gd name="connsiteX6" fmla="*/ 1907143 w 21730024"/>
              <a:gd name="connsiteY6" fmla="*/ 361018 h 7038202"/>
              <a:gd name="connsiteX7" fmla="*/ 0 w 21730024"/>
              <a:gd name="connsiteY7" fmla="*/ 359281 h 7038202"/>
              <a:gd name="connsiteX8" fmla="*/ 479 w 21730024"/>
              <a:gd name="connsiteY8" fmla="*/ 6946935 h 7038202"/>
              <a:gd name="connsiteX0" fmla="*/ 85846 w 21815391"/>
              <a:gd name="connsiteY0" fmla="*/ 6946935 h 6953376"/>
              <a:gd name="connsiteX1" fmla="*/ 21815386 w 21815391"/>
              <a:gd name="connsiteY1" fmla="*/ 6952895 h 6953376"/>
              <a:gd name="connsiteX2" fmla="*/ 21784394 w 21815391"/>
              <a:gd name="connsiteY2" fmla="*/ 201 h 6953376"/>
              <a:gd name="connsiteX3" fmla="*/ 20990103 w 21815391"/>
              <a:gd name="connsiteY3" fmla="*/ 385186 h 6953376"/>
              <a:gd name="connsiteX4" fmla="*/ 4310066 w 21815391"/>
              <a:gd name="connsiteY4" fmla="*/ 361018 h 6953376"/>
              <a:gd name="connsiteX5" fmla="*/ 3166864 w 21815391"/>
              <a:gd name="connsiteY5" fmla="*/ 1159496 h 6953376"/>
              <a:gd name="connsiteX6" fmla="*/ 1992510 w 21815391"/>
              <a:gd name="connsiteY6" fmla="*/ 361018 h 6953376"/>
              <a:gd name="connsiteX7" fmla="*/ 85367 w 21815391"/>
              <a:gd name="connsiteY7" fmla="*/ 359281 h 6953376"/>
              <a:gd name="connsiteX8" fmla="*/ 85846 w 21815391"/>
              <a:gd name="connsiteY8" fmla="*/ 6946935 h 6953376"/>
              <a:gd name="connsiteX0" fmla="*/ 479 w 21730024"/>
              <a:gd name="connsiteY0" fmla="*/ 6946935 h 6953376"/>
              <a:gd name="connsiteX1" fmla="*/ 21730019 w 21730024"/>
              <a:gd name="connsiteY1" fmla="*/ 6952895 h 6953376"/>
              <a:gd name="connsiteX2" fmla="*/ 21699027 w 21730024"/>
              <a:gd name="connsiteY2" fmla="*/ 201 h 6953376"/>
              <a:gd name="connsiteX3" fmla="*/ 20904736 w 21730024"/>
              <a:gd name="connsiteY3" fmla="*/ 385186 h 6953376"/>
              <a:gd name="connsiteX4" fmla="*/ 4224699 w 21730024"/>
              <a:gd name="connsiteY4" fmla="*/ 361018 h 6953376"/>
              <a:gd name="connsiteX5" fmla="*/ 3081497 w 21730024"/>
              <a:gd name="connsiteY5" fmla="*/ 1159496 h 6953376"/>
              <a:gd name="connsiteX6" fmla="*/ 1907143 w 21730024"/>
              <a:gd name="connsiteY6" fmla="*/ 361018 h 6953376"/>
              <a:gd name="connsiteX7" fmla="*/ 0 w 21730024"/>
              <a:gd name="connsiteY7" fmla="*/ 359281 h 6953376"/>
              <a:gd name="connsiteX8" fmla="*/ 479 w 21730024"/>
              <a:gd name="connsiteY8" fmla="*/ 6946935 h 6953376"/>
              <a:gd name="connsiteX0" fmla="*/ 479 w 21699030"/>
              <a:gd name="connsiteY0" fmla="*/ 6946937 h 6946937"/>
              <a:gd name="connsiteX1" fmla="*/ 21344051 w 21699030"/>
              <a:gd name="connsiteY1" fmla="*/ 6787711 h 6946937"/>
              <a:gd name="connsiteX2" fmla="*/ 21699027 w 21699030"/>
              <a:gd name="connsiteY2" fmla="*/ 203 h 6946937"/>
              <a:gd name="connsiteX3" fmla="*/ 20904736 w 21699030"/>
              <a:gd name="connsiteY3" fmla="*/ 385188 h 6946937"/>
              <a:gd name="connsiteX4" fmla="*/ 4224699 w 21699030"/>
              <a:gd name="connsiteY4" fmla="*/ 361020 h 6946937"/>
              <a:gd name="connsiteX5" fmla="*/ 3081497 w 21699030"/>
              <a:gd name="connsiteY5" fmla="*/ 1159498 h 6946937"/>
              <a:gd name="connsiteX6" fmla="*/ 1907143 w 21699030"/>
              <a:gd name="connsiteY6" fmla="*/ 361020 h 6946937"/>
              <a:gd name="connsiteX7" fmla="*/ 0 w 21699030"/>
              <a:gd name="connsiteY7" fmla="*/ 359283 h 6946937"/>
              <a:gd name="connsiteX8" fmla="*/ 479 w 21699030"/>
              <a:gd name="connsiteY8" fmla="*/ 6946937 h 6946937"/>
              <a:gd name="connsiteX0" fmla="*/ 479 w 21703452"/>
              <a:gd name="connsiteY0" fmla="*/ 6946935 h 6946935"/>
              <a:gd name="connsiteX1" fmla="*/ 21703403 w 21703452"/>
              <a:gd name="connsiteY1" fmla="*/ 6946012 h 6946935"/>
              <a:gd name="connsiteX2" fmla="*/ 21699027 w 21703452"/>
              <a:gd name="connsiteY2" fmla="*/ 201 h 6946935"/>
              <a:gd name="connsiteX3" fmla="*/ 20904736 w 21703452"/>
              <a:gd name="connsiteY3" fmla="*/ 385186 h 6946935"/>
              <a:gd name="connsiteX4" fmla="*/ 4224699 w 21703452"/>
              <a:gd name="connsiteY4" fmla="*/ 361018 h 6946935"/>
              <a:gd name="connsiteX5" fmla="*/ 3081497 w 21703452"/>
              <a:gd name="connsiteY5" fmla="*/ 1159496 h 6946935"/>
              <a:gd name="connsiteX6" fmla="*/ 1907143 w 21703452"/>
              <a:gd name="connsiteY6" fmla="*/ 361018 h 6946935"/>
              <a:gd name="connsiteX7" fmla="*/ 0 w 21703452"/>
              <a:gd name="connsiteY7" fmla="*/ 359281 h 6946935"/>
              <a:gd name="connsiteX8" fmla="*/ 479 w 21703452"/>
              <a:gd name="connsiteY8" fmla="*/ 6946935 h 6946935"/>
              <a:gd name="connsiteX0" fmla="*/ 479 w 21869774"/>
              <a:gd name="connsiteY0" fmla="*/ 6946945 h 6946945"/>
              <a:gd name="connsiteX1" fmla="*/ 21869772 w 21869774"/>
              <a:gd name="connsiteY1" fmla="*/ 6505527 h 6946945"/>
              <a:gd name="connsiteX2" fmla="*/ 21699027 w 21869774"/>
              <a:gd name="connsiteY2" fmla="*/ 211 h 6946945"/>
              <a:gd name="connsiteX3" fmla="*/ 20904736 w 21869774"/>
              <a:gd name="connsiteY3" fmla="*/ 385196 h 6946945"/>
              <a:gd name="connsiteX4" fmla="*/ 4224699 w 21869774"/>
              <a:gd name="connsiteY4" fmla="*/ 361028 h 6946945"/>
              <a:gd name="connsiteX5" fmla="*/ 3081497 w 21869774"/>
              <a:gd name="connsiteY5" fmla="*/ 1159506 h 6946945"/>
              <a:gd name="connsiteX6" fmla="*/ 1907143 w 21869774"/>
              <a:gd name="connsiteY6" fmla="*/ 361028 h 6946945"/>
              <a:gd name="connsiteX7" fmla="*/ 0 w 21869774"/>
              <a:gd name="connsiteY7" fmla="*/ 359291 h 6946945"/>
              <a:gd name="connsiteX8" fmla="*/ 479 w 21869774"/>
              <a:gd name="connsiteY8" fmla="*/ 6946945 h 6946945"/>
              <a:gd name="connsiteX0" fmla="*/ 479 w 21703454"/>
              <a:gd name="connsiteY0" fmla="*/ 6946935 h 6953376"/>
              <a:gd name="connsiteX1" fmla="*/ 21703405 w 21703454"/>
              <a:gd name="connsiteY1" fmla="*/ 6952895 h 6953376"/>
              <a:gd name="connsiteX2" fmla="*/ 21699027 w 21703454"/>
              <a:gd name="connsiteY2" fmla="*/ 201 h 6953376"/>
              <a:gd name="connsiteX3" fmla="*/ 20904736 w 21703454"/>
              <a:gd name="connsiteY3" fmla="*/ 385186 h 6953376"/>
              <a:gd name="connsiteX4" fmla="*/ 4224699 w 21703454"/>
              <a:gd name="connsiteY4" fmla="*/ 361018 h 6953376"/>
              <a:gd name="connsiteX5" fmla="*/ 3081497 w 21703454"/>
              <a:gd name="connsiteY5" fmla="*/ 1159496 h 6953376"/>
              <a:gd name="connsiteX6" fmla="*/ 1907143 w 21703454"/>
              <a:gd name="connsiteY6" fmla="*/ 361018 h 6953376"/>
              <a:gd name="connsiteX7" fmla="*/ 0 w 21703454"/>
              <a:gd name="connsiteY7" fmla="*/ 359281 h 6953376"/>
              <a:gd name="connsiteX8" fmla="*/ 479 w 21703454"/>
              <a:gd name="connsiteY8" fmla="*/ 6946935 h 6953376"/>
              <a:gd name="connsiteX0" fmla="*/ 479 w 21703404"/>
              <a:gd name="connsiteY0" fmla="*/ 6947131 h 6953091"/>
              <a:gd name="connsiteX1" fmla="*/ 21703405 w 21703404"/>
              <a:gd name="connsiteY1" fmla="*/ 6953091 h 6953091"/>
              <a:gd name="connsiteX2" fmla="*/ 21699027 w 21703404"/>
              <a:gd name="connsiteY2" fmla="*/ 397 h 6953091"/>
              <a:gd name="connsiteX3" fmla="*/ 20904736 w 21703404"/>
              <a:gd name="connsiteY3" fmla="*/ 385382 h 6953091"/>
              <a:gd name="connsiteX4" fmla="*/ 4224699 w 21703404"/>
              <a:gd name="connsiteY4" fmla="*/ 361214 h 6953091"/>
              <a:gd name="connsiteX5" fmla="*/ 3081497 w 21703404"/>
              <a:gd name="connsiteY5" fmla="*/ 1159692 h 6953091"/>
              <a:gd name="connsiteX6" fmla="*/ 1907143 w 21703404"/>
              <a:gd name="connsiteY6" fmla="*/ 361214 h 6953091"/>
              <a:gd name="connsiteX7" fmla="*/ 0 w 21703404"/>
              <a:gd name="connsiteY7" fmla="*/ 359477 h 6953091"/>
              <a:gd name="connsiteX8" fmla="*/ 479 w 21703404"/>
              <a:gd name="connsiteY8" fmla="*/ 6947131 h 6953091"/>
              <a:gd name="connsiteX0" fmla="*/ 479 w 21703404"/>
              <a:gd name="connsiteY0" fmla="*/ 6946733 h 6952693"/>
              <a:gd name="connsiteX1" fmla="*/ 21703405 w 21703404"/>
              <a:gd name="connsiteY1" fmla="*/ 6952693 h 6952693"/>
              <a:gd name="connsiteX2" fmla="*/ 21699027 w 21703404"/>
              <a:gd name="connsiteY2" fmla="*/ -1 h 6952693"/>
              <a:gd name="connsiteX3" fmla="*/ 20904736 w 21703404"/>
              <a:gd name="connsiteY3" fmla="*/ 384984 h 6952693"/>
              <a:gd name="connsiteX4" fmla="*/ 4224699 w 21703404"/>
              <a:gd name="connsiteY4" fmla="*/ 360816 h 6952693"/>
              <a:gd name="connsiteX5" fmla="*/ 3081497 w 21703404"/>
              <a:gd name="connsiteY5" fmla="*/ 1159294 h 6952693"/>
              <a:gd name="connsiteX6" fmla="*/ 1907143 w 21703404"/>
              <a:gd name="connsiteY6" fmla="*/ 360816 h 6952693"/>
              <a:gd name="connsiteX7" fmla="*/ 0 w 21703404"/>
              <a:gd name="connsiteY7" fmla="*/ 359079 h 6952693"/>
              <a:gd name="connsiteX8" fmla="*/ 479 w 21703404"/>
              <a:gd name="connsiteY8" fmla="*/ 6946733 h 6952693"/>
              <a:gd name="connsiteX0" fmla="*/ 479 w 21703404"/>
              <a:gd name="connsiteY0" fmla="*/ 11587960 h 11587960"/>
              <a:gd name="connsiteX1" fmla="*/ 21703405 w 21703404"/>
              <a:gd name="connsiteY1" fmla="*/ 6952693 h 11587960"/>
              <a:gd name="connsiteX2" fmla="*/ 21699027 w 21703404"/>
              <a:gd name="connsiteY2" fmla="*/ -1 h 11587960"/>
              <a:gd name="connsiteX3" fmla="*/ 20904736 w 21703404"/>
              <a:gd name="connsiteY3" fmla="*/ 384984 h 11587960"/>
              <a:gd name="connsiteX4" fmla="*/ 4224699 w 21703404"/>
              <a:gd name="connsiteY4" fmla="*/ 360816 h 11587960"/>
              <a:gd name="connsiteX5" fmla="*/ 3081497 w 21703404"/>
              <a:gd name="connsiteY5" fmla="*/ 1159294 h 11587960"/>
              <a:gd name="connsiteX6" fmla="*/ 1907143 w 21703404"/>
              <a:gd name="connsiteY6" fmla="*/ 360816 h 11587960"/>
              <a:gd name="connsiteX7" fmla="*/ 0 w 21703404"/>
              <a:gd name="connsiteY7" fmla="*/ 359079 h 11587960"/>
              <a:gd name="connsiteX8" fmla="*/ 479 w 21703404"/>
              <a:gd name="connsiteY8" fmla="*/ 11587960 h 11587960"/>
              <a:gd name="connsiteX0" fmla="*/ 802867 w 21703404"/>
              <a:gd name="connsiteY0" fmla="*/ 10604388 h 10604388"/>
              <a:gd name="connsiteX1" fmla="*/ 21703405 w 21703404"/>
              <a:gd name="connsiteY1" fmla="*/ 6952693 h 10604388"/>
              <a:gd name="connsiteX2" fmla="*/ 21699027 w 21703404"/>
              <a:gd name="connsiteY2" fmla="*/ -1 h 10604388"/>
              <a:gd name="connsiteX3" fmla="*/ 20904736 w 21703404"/>
              <a:gd name="connsiteY3" fmla="*/ 384984 h 10604388"/>
              <a:gd name="connsiteX4" fmla="*/ 4224699 w 21703404"/>
              <a:gd name="connsiteY4" fmla="*/ 360816 h 10604388"/>
              <a:gd name="connsiteX5" fmla="*/ 3081497 w 21703404"/>
              <a:gd name="connsiteY5" fmla="*/ 1159294 h 10604388"/>
              <a:gd name="connsiteX6" fmla="*/ 1907143 w 21703404"/>
              <a:gd name="connsiteY6" fmla="*/ 360816 h 10604388"/>
              <a:gd name="connsiteX7" fmla="*/ 0 w 21703404"/>
              <a:gd name="connsiteY7" fmla="*/ 359079 h 10604388"/>
              <a:gd name="connsiteX8" fmla="*/ 802867 w 21703404"/>
              <a:gd name="connsiteY8" fmla="*/ 10604388 h 10604388"/>
              <a:gd name="connsiteX0" fmla="*/ 30197 w 21703404"/>
              <a:gd name="connsiteY0" fmla="*/ 11587960 h 11587960"/>
              <a:gd name="connsiteX1" fmla="*/ 21703405 w 21703404"/>
              <a:gd name="connsiteY1" fmla="*/ 6952693 h 11587960"/>
              <a:gd name="connsiteX2" fmla="*/ 21699027 w 21703404"/>
              <a:gd name="connsiteY2" fmla="*/ -1 h 11587960"/>
              <a:gd name="connsiteX3" fmla="*/ 20904736 w 21703404"/>
              <a:gd name="connsiteY3" fmla="*/ 384984 h 11587960"/>
              <a:gd name="connsiteX4" fmla="*/ 4224699 w 21703404"/>
              <a:gd name="connsiteY4" fmla="*/ 360816 h 11587960"/>
              <a:gd name="connsiteX5" fmla="*/ 3081497 w 21703404"/>
              <a:gd name="connsiteY5" fmla="*/ 1159294 h 11587960"/>
              <a:gd name="connsiteX6" fmla="*/ 1907143 w 21703404"/>
              <a:gd name="connsiteY6" fmla="*/ 360816 h 11587960"/>
              <a:gd name="connsiteX7" fmla="*/ 0 w 21703404"/>
              <a:gd name="connsiteY7" fmla="*/ 359079 h 11587960"/>
              <a:gd name="connsiteX8" fmla="*/ 30197 w 21703404"/>
              <a:gd name="connsiteY8" fmla="*/ 11587960 h 11587960"/>
              <a:gd name="connsiteX0" fmla="*/ 13248 w 21703404"/>
              <a:gd name="connsiteY0" fmla="*/ 11547057 h 11547057"/>
              <a:gd name="connsiteX1" fmla="*/ 21703405 w 21703404"/>
              <a:gd name="connsiteY1" fmla="*/ 6952693 h 11547057"/>
              <a:gd name="connsiteX2" fmla="*/ 21699027 w 21703404"/>
              <a:gd name="connsiteY2" fmla="*/ -1 h 11547057"/>
              <a:gd name="connsiteX3" fmla="*/ 20904736 w 21703404"/>
              <a:gd name="connsiteY3" fmla="*/ 384984 h 11547057"/>
              <a:gd name="connsiteX4" fmla="*/ 4224699 w 21703404"/>
              <a:gd name="connsiteY4" fmla="*/ 360816 h 11547057"/>
              <a:gd name="connsiteX5" fmla="*/ 3081497 w 21703404"/>
              <a:gd name="connsiteY5" fmla="*/ 1159294 h 11547057"/>
              <a:gd name="connsiteX6" fmla="*/ 1907143 w 21703404"/>
              <a:gd name="connsiteY6" fmla="*/ 360816 h 11547057"/>
              <a:gd name="connsiteX7" fmla="*/ 0 w 21703404"/>
              <a:gd name="connsiteY7" fmla="*/ 359079 h 11547057"/>
              <a:gd name="connsiteX8" fmla="*/ 13248 w 21703404"/>
              <a:gd name="connsiteY8" fmla="*/ 11547057 h 11547057"/>
              <a:gd name="connsiteX0" fmla="*/ 18899 w 21703404"/>
              <a:gd name="connsiteY0" fmla="*/ 11500312 h 11500312"/>
              <a:gd name="connsiteX1" fmla="*/ 21703405 w 21703404"/>
              <a:gd name="connsiteY1" fmla="*/ 6952693 h 11500312"/>
              <a:gd name="connsiteX2" fmla="*/ 21699027 w 21703404"/>
              <a:gd name="connsiteY2" fmla="*/ -1 h 11500312"/>
              <a:gd name="connsiteX3" fmla="*/ 20904736 w 21703404"/>
              <a:gd name="connsiteY3" fmla="*/ 384984 h 11500312"/>
              <a:gd name="connsiteX4" fmla="*/ 4224699 w 21703404"/>
              <a:gd name="connsiteY4" fmla="*/ 360816 h 11500312"/>
              <a:gd name="connsiteX5" fmla="*/ 3081497 w 21703404"/>
              <a:gd name="connsiteY5" fmla="*/ 1159294 h 11500312"/>
              <a:gd name="connsiteX6" fmla="*/ 1907143 w 21703404"/>
              <a:gd name="connsiteY6" fmla="*/ 360816 h 11500312"/>
              <a:gd name="connsiteX7" fmla="*/ 0 w 21703404"/>
              <a:gd name="connsiteY7" fmla="*/ 359079 h 11500312"/>
              <a:gd name="connsiteX8" fmla="*/ 18899 w 21703404"/>
              <a:gd name="connsiteY8" fmla="*/ 11500312 h 11500312"/>
              <a:gd name="connsiteX0" fmla="*/ 453915 w 21703404"/>
              <a:gd name="connsiteY0" fmla="*/ 10910154 h 10910154"/>
              <a:gd name="connsiteX1" fmla="*/ 21703405 w 21703404"/>
              <a:gd name="connsiteY1" fmla="*/ 6952693 h 10910154"/>
              <a:gd name="connsiteX2" fmla="*/ 21699027 w 21703404"/>
              <a:gd name="connsiteY2" fmla="*/ -1 h 10910154"/>
              <a:gd name="connsiteX3" fmla="*/ 20904736 w 21703404"/>
              <a:gd name="connsiteY3" fmla="*/ 384984 h 10910154"/>
              <a:gd name="connsiteX4" fmla="*/ 4224699 w 21703404"/>
              <a:gd name="connsiteY4" fmla="*/ 360816 h 10910154"/>
              <a:gd name="connsiteX5" fmla="*/ 3081497 w 21703404"/>
              <a:gd name="connsiteY5" fmla="*/ 1159294 h 10910154"/>
              <a:gd name="connsiteX6" fmla="*/ 1907143 w 21703404"/>
              <a:gd name="connsiteY6" fmla="*/ 360816 h 10910154"/>
              <a:gd name="connsiteX7" fmla="*/ 0 w 21703404"/>
              <a:gd name="connsiteY7" fmla="*/ 359079 h 10910154"/>
              <a:gd name="connsiteX8" fmla="*/ 453915 w 21703404"/>
              <a:gd name="connsiteY8" fmla="*/ 10910154 h 10910154"/>
              <a:gd name="connsiteX0" fmla="*/ 7602 w 21703404"/>
              <a:gd name="connsiteY0" fmla="*/ 11529527 h 11529527"/>
              <a:gd name="connsiteX1" fmla="*/ 21703405 w 21703404"/>
              <a:gd name="connsiteY1" fmla="*/ 6952693 h 11529527"/>
              <a:gd name="connsiteX2" fmla="*/ 21699027 w 21703404"/>
              <a:gd name="connsiteY2" fmla="*/ -1 h 11529527"/>
              <a:gd name="connsiteX3" fmla="*/ 20904736 w 21703404"/>
              <a:gd name="connsiteY3" fmla="*/ 384984 h 11529527"/>
              <a:gd name="connsiteX4" fmla="*/ 4224699 w 21703404"/>
              <a:gd name="connsiteY4" fmla="*/ 360816 h 11529527"/>
              <a:gd name="connsiteX5" fmla="*/ 3081497 w 21703404"/>
              <a:gd name="connsiteY5" fmla="*/ 1159294 h 11529527"/>
              <a:gd name="connsiteX6" fmla="*/ 1907143 w 21703404"/>
              <a:gd name="connsiteY6" fmla="*/ 360816 h 11529527"/>
              <a:gd name="connsiteX7" fmla="*/ 0 w 21703404"/>
              <a:gd name="connsiteY7" fmla="*/ 359079 h 11529527"/>
              <a:gd name="connsiteX8" fmla="*/ 7602 w 21703404"/>
              <a:gd name="connsiteY8" fmla="*/ 11529527 h 11529527"/>
              <a:gd name="connsiteX0" fmla="*/ 7602 w 21703404"/>
              <a:gd name="connsiteY0" fmla="*/ 11529527 h 11529527"/>
              <a:gd name="connsiteX1" fmla="*/ 21703404 w 21703404"/>
              <a:gd name="connsiteY1" fmla="*/ 8571247 h 11529527"/>
              <a:gd name="connsiteX2" fmla="*/ 21699027 w 21703404"/>
              <a:gd name="connsiteY2" fmla="*/ -1 h 11529527"/>
              <a:gd name="connsiteX3" fmla="*/ 20904736 w 21703404"/>
              <a:gd name="connsiteY3" fmla="*/ 384984 h 11529527"/>
              <a:gd name="connsiteX4" fmla="*/ 4224699 w 21703404"/>
              <a:gd name="connsiteY4" fmla="*/ 360816 h 11529527"/>
              <a:gd name="connsiteX5" fmla="*/ 3081497 w 21703404"/>
              <a:gd name="connsiteY5" fmla="*/ 1159294 h 11529527"/>
              <a:gd name="connsiteX6" fmla="*/ 1907143 w 21703404"/>
              <a:gd name="connsiteY6" fmla="*/ 360816 h 11529527"/>
              <a:gd name="connsiteX7" fmla="*/ 0 w 21703404"/>
              <a:gd name="connsiteY7" fmla="*/ 359079 h 11529527"/>
              <a:gd name="connsiteX8" fmla="*/ 7602 w 21703404"/>
              <a:gd name="connsiteY8" fmla="*/ 11529527 h 11529527"/>
              <a:gd name="connsiteX0" fmla="*/ 7602 w 21703404"/>
              <a:gd name="connsiteY0" fmla="*/ 11529527 h 11529527"/>
              <a:gd name="connsiteX1" fmla="*/ 21703404 w 21703404"/>
              <a:gd name="connsiteY1" fmla="*/ 11422707 h 11529527"/>
              <a:gd name="connsiteX2" fmla="*/ 21699027 w 21703404"/>
              <a:gd name="connsiteY2" fmla="*/ -1 h 11529527"/>
              <a:gd name="connsiteX3" fmla="*/ 20904736 w 21703404"/>
              <a:gd name="connsiteY3" fmla="*/ 384984 h 11529527"/>
              <a:gd name="connsiteX4" fmla="*/ 4224699 w 21703404"/>
              <a:gd name="connsiteY4" fmla="*/ 360816 h 11529527"/>
              <a:gd name="connsiteX5" fmla="*/ 3081497 w 21703404"/>
              <a:gd name="connsiteY5" fmla="*/ 1159294 h 11529527"/>
              <a:gd name="connsiteX6" fmla="*/ 1907143 w 21703404"/>
              <a:gd name="connsiteY6" fmla="*/ 360816 h 11529527"/>
              <a:gd name="connsiteX7" fmla="*/ 0 w 21703404"/>
              <a:gd name="connsiteY7" fmla="*/ 359079 h 11529527"/>
              <a:gd name="connsiteX8" fmla="*/ 7602 w 21703404"/>
              <a:gd name="connsiteY8" fmla="*/ 11529527 h 11529527"/>
              <a:gd name="connsiteX0" fmla="*/ 7602 w 21701862"/>
              <a:gd name="connsiteY0" fmla="*/ 11529527 h 11529527"/>
              <a:gd name="connsiteX1" fmla="*/ 21697755 w 21701862"/>
              <a:gd name="connsiteY1" fmla="*/ 11522040 h 11529527"/>
              <a:gd name="connsiteX2" fmla="*/ 21699027 w 21701862"/>
              <a:gd name="connsiteY2" fmla="*/ -1 h 11529527"/>
              <a:gd name="connsiteX3" fmla="*/ 20904736 w 21701862"/>
              <a:gd name="connsiteY3" fmla="*/ 384984 h 11529527"/>
              <a:gd name="connsiteX4" fmla="*/ 4224699 w 21701862"/>
              <a:gd name="connsiteY4" fmla="*/ 360816 h 11529527"/>
              <a:gd name="connsiteX5" fmla="*/ 3081497 w 21701862"/>
              <a:gd name="connsiteY5" fmla="*/ 1159294 h 11529527"/>
              <a:gd name="connsiteX6" fmla="*/ 1907143 w 21701862"/>
              <a:gd name="connsiteY6" fmla="*/ 360816 h 11529527"/>
              <a:gd name="connsiteX7" fmla="*/ 0 w 21701862"/>
              <a:gd name="connsiteY7" fmla="*/ 359079 h 11529527"/>
              <a:gd name="connsiteX8" fmla="*/ 7602 w 21701862"/>
              <a:gd name="connsiteY8" fmla="*/ 11529527 h 11529527"/>
              <a:gd name="connsiteX0" fmla="*/ 7602 w 21701862"/>
              <a:gd name="connsiteY0" fmla="*/ 11529527 h 11529527"/>
              <a:gd name="connsiteX1" fmla="*/ 21697755 w 21701862"/>
              <a:gd name="connsiteY1" fmla="*/ 11516198 h 11529527"/>
              <a:gd name="connsiteX2" fmla="*/ 21699027 w 21701862"/>
              <a:gd name="connsiteY2" fmla="*/ -1 h 11529527"/>
              <a:gd name="connsiteX3" fmla="*/ 20904736 w 21701862"/>
              <a:gd name="connsiteY3" fmla="*/ 384984 h 11529527"/>
              <a:gd name="connsiteX4" fmla="*/ 4224699 w 21701862"/>
              <a:gd name="connsiteY4" fmla="*/ 360816 h 11529527"/>
              <a:gd name="connsiteX5" fmla="*/ 3081497 w 21701862"/>
              <a:gd name="connsiteY5" fmla="*/ 1159294 h 11529527"/>
              <a:gd name="connsiteX6" fmla="*/ 1907143 w 21701862"/>
              <a:gd name="connsiteY6" fmla="*/ 360816 h 11529527"/>
              <a:gd name="connsiteX7" fmla="*/ 0 w 21701862"/>
              <a:gd name="connsiteY7" fmla="*/ 359079 h 11529527"/>
              <a:gd name="connsiteX8" fmla="*/ 7602 w 21701862"/>
              <a:gd name="connsiteY8" fmla="*/ 11529527 h 11529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01862" h="11529527">
                <a:moveTo>
                  <a:pt x="7602" y="11529527"/>
                </a:moveTo>
                <a:lnTo>
                  <a:pt x="21697755" y="11516198"/>
                </a:lnTo>
                <a:cubicBezTo>
                  <a:pt x="21695566" y="8039851"/>
                  <a:pt x="21706934" y="899518"/>
                  <a:pt x="21699027" y="-1"/>
                </a:cubicBezTo>
                <a:cubicBezTo>
                  <a:pt x="21554928" y="424890"/>
                  <a:pt x="21164498" y="379041"/>
                  <a:pt x="20904736" y="384984"/>
                </a:cubicBezTo>
                <a:lnTo>
                  <a:pt x="4224699" y="360816"/>
                </a:lnTo>
                <a:cubicBezTo>
                  <a:pt x="3647485" y="393958"/>
                  <a:pt x="3273106" y="696472"/>
                  <a:pt x="3081497" y="1159294"/>
                </a:cubicBezTo>
                <a:cubicBezTo>
                  <a:pt x="2783143" y="455517"/>
                  <a:pt x="2185783" y="359938"/>
                  <a:pt x="1907143" y="360816"/>
                </a:cubicBezTo>
                <a:lnTo>
                  <a:pt x="0" y="359079"/>
                </a:lnTo>
                <a:cubicBezTo>
                  <a:pt x="222" y="-2800"/>
                  <a:pt x="7362" y="8235700"/>
                  <a:pt x="7602" y="11529527"/>
                </a:cubicBezTo>
                <a:close/>
              </a:path>
            </a:pathLst>
          </a:custGeom>
          <a:gradFill>
            <a:gsLst>
              <a:gs pos="0">
                <a:srgbClr val="005B7C"/>
              </a:gs>
              <a:gs pos="50000">
                <a:srgbClr val="0085B3"/>
              </a:gs>
              <a:gs pos="100000">
                <a:srgbClr val="00A0D6"/>
              </a:gs>
            </a:gsLst>
            <a:lin ang="18900000" scaled="1"/>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21" name="Picture 20" descr="capgemini_rgb.jpg"/>
          <p:cNvPicPr>
            <a:picLocks noChangeAspect="1"/>
          </p:cNvPicPr>
          <p:nvPr/>
        </p:nvPicPr>
        <p:blipFill>
          <a:blip r:embed="rId15" cstate="print">
            <a:extLst>
              <a:ext uri="{28A0092B-C50C-407E-A947-70E740481C1C}">
                <a14:useLocalDpi xmlns="" xmlns:a14="http://schemas.microsoft.com/office/drawing/2010/main" val="0"/>
              </a:ext>
            </a:extLst>
          </a:blip>
          <a:stretch>
            <a:fillRect/>
          </a:stretch>
        </p:blipFill>
        <p:spPr>
          <a:xfrm>
            <a:off x="592410" y="844897"/>
            <a:ext cx="3027090" cy="925380"/>
          </a:xfrm>
          <a:prstGeom prst="rect">
            <a:avLst/>
          </a:prstGeom>
        </p:spPr>
      </p:pic>
      <p:graphicFrame>
        <p:nvGraphicFramePr>
          <p:cNvPr id="12" name="Object 11" hidden="1"/>
          <p:cNvGraphicFramePr>
            <a:graphicFrameLocks noChangeAspect="1"/>
          </p:cNvGraphicFramePr>
          <p:nvPr/>
        </p:nvGraphicFramePr>
        <p:xfrm>
          <a:off x="0" y="0"/>
          <a:ext cx="146538" cy="158750"/>
        </p:xfrm>
        <a:graphic>
          <a:graphicData uri="http://schemas.openxmlformats.org/presentationml/2006/ole">
            <p:oleObj spid="_x0000_s56971" name="think-cell Slide" r:id="rId16" imgW="360" imgH="360" progId="">
              <p:embed/>
            </p:oleObj>
          </a:graphicData>
        </a:graphic>
      </p:graphicFrame>
      <p:pic>
        <p:nvPicPr>
          <p:cNvPr id="9" name="Picture 104" descr="C:\Users\UserSim\Desktop\Capgemini\moto.emf"/>
          <p:cNvPicPr>
            <a:picLocks noChangeAspect="1" noChangeArrowheads="1"/>
          </p:cNvPicPr>
          <p:nvPr>
            <p:custDataLst>
              <p:tags r:id="rId7"/>
            </p:custDataLst>
          </p:nvPr>
        </p:nvPicPr>
        <p:blipFill>
          <a:blip r:embed="rId17" cstate="email">
            <a:extLst>
              <a:ext uri="{28A0092B-C50C-407E-A947-70E740481C1C}">
                <a14:useLocalDpi xmlns="" xmlns:a14="http://schemas.microsoft.com/office/drawing/2010/main" val="0"/>
              </a:ext>
            </a:extLst>
          </a:blip>
          <a:srcRect/>
          <a:stretch>
            <a:fillRect/>
          </a:stretch>
        </p:blipFill>
        <p:spPr bwMode="auto">
          <a:xfrm>
            <a:off x="5069198" y="1173628"/>
            <a:ext cx="3364886" cy="290298"/>
          </a:xfrm>
          <a:prstGeom prst="rect">
            <a:avLst/>
          </a:prstGeom>
          <a:noFill/>
        </p:spPr>
      </p:pic>
      <p:sp>
        <p:nvSpPr>
          <p:cNvPr id="13" name="Rectangle 12"/>
          <p:cNvSpPr/>
          <p:nvPr>
            <p:custDataLst>
              <p:tags r:id="rId8"/>
            </p:custDataLst>
          </p:nvPr>
        </p:nvSpPr>
        <p:spPr>
          <a:xfrm>
            <a:off x="5099002" y="6379671"/>
            <a:ext cx="4045000" cy="282207"/>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a:t>
            </a:r>
            <a:r>
              <a:rPr lang="en-US" sz="700" dirty="0" smtClean="0">
                <a:solidFill>
                  <a:schemeClr val="bg1"/>
                </a:solidFill>
                <a:latin typeface="Arial"/>
                <a:cs typeface="Arial"/>
              </a:rPr>
              <a:t>proprietary.</a:t>
            </a:r>
          </a:p>
          <a:p>
            <a:pPr algn="r"/>
            <a:r>
              <a:rPr lang="en-US" sz="700" dirty="0" smtClean="0">
                <a:solidFill>
                  <a:schemeClr val="bg1"/>
                </a:solidFill>
                <a:latin typeface="Arial"/>
                <a:cs typeface="Arial"/>
              </a:rPr>
              <a:t>© 2016 </a:t>
            </a:r>
            <a:r>
              <a:rPr lang="en-US" sz="700" dirty="0">
                <a:solidFill>
                  <a:schemeClr val="bg1"/>
                </a:solidFill>
                <a:latin typeface="Arial"/>
                <a:cs typeface="Arial"/>
              </a:rPr>
              <a:t>Capgemini. All rights </a:t>
            </a:r>
            <a:r>
              <a:rPr lang="en-US" sz="700" dirty="0" smtClean="0">
                <a:solidFill>
                  <a:schemeClr val="bg1"/>
                </a:solidFill>
                <a:latin typeface="Arial"/>
                <a:cs typeface="Arial"/>
              </a:rPr>
              <a:t>reserved.</a:t>
            </a:r>
            <a:endParaRPr lang="en-US" sz="700" dirty="0">
              <a:solidFill>
                <a:schemeClr val="bg1"/>
              </a:solidFill>
              <a:latin typeface="Arial"/>
              <a:cs typeface="Arial"/>
            </a:endParaRPr>
          </a:p>
        </p:txBody>
      </p:sp>
      <p:sp>
        <p:nvSpPr>
          <p:cNvPr id="15" name="Rectangle 14"/>
          <p:cNvSpPr/>
          <p:nvPr>
            <p:custDataLst>
              <p:tags r:id="rId9"/>
            </p:custDataLst>
          </p:nvPr>
        </p:nvSpPr>
        <p:spPr>
          <a:xfrm>
            <a:off x="62208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8"/>
          </p:cNvPr>
          <p:cNvPicPr>
            <a:picLocks noChangeAspect="1" noChangeArrowheads="1"/>
          </p:cNvPicPr>
          <p:nvPr>
            <p:custDataLst>
              <p:tags r:id="rId10"/>
            </p:custDataLst>
          </p:nvPr>
        </p:nvPicPr>
        <p:blipFill>
          <a:blip r:embed="rId19" cstate="email">
            <a:extLst>
              <a:ext uri="{28A0092B-C50C-407E-A947-70E740481C1C}">
                <a14:useLocalDpi xmlns="" xmlns:a14="http://schemas.microsoft.com/office/drawing/2010/main" val="0"/>
              </a:ext>
            </a:extLst>
          </a:blip>
          <a:srcRect/>
          <a:stretch>
            <a:fillRect/>
          </a:stretch>
        </p:blipFill>
        <p:spPr bwMode="auto">
          <a:xfrm>
            <a:off x="7328542" y="5932547"/>
            <a:ext cx="256821" cy="263770"/>
          </a:xfrm>
          <a:prstGeom prst="rect">
            <a:avLst/>
          </a:prstGeom>
          <a:noFill/>
        </p:spPr>
      </p:pic>
      <p:pic>
        <p:nvPicPr>
          <p:cNvPr id="17" name="Picture 4" descr="C:\Users\UserSim\Desktop\DS_icons\128x128 shadows\linkedin.png">
            <a:hlinkClick r:id="rId20"/>
          </p:cNvPr>
          <p:cNvPicPr>
            <a:picLocks noChangeAspect="1" noChangeArrowheads="1"/>
          </p:cNvPicPr>
          <p:nvPr>
            <p:custDataLst>
              <p:tags r:id="rId11"/>
            </p:custDataLst>
          </p:nvPr>
        </p:nvPicPr>
        <p:blipFill>
          <a:blip r:embed="rId21" cstate="email">
            <a:extLst>
              <a:ext uri="{28A0092B-C50C-407E-A947-70E740481C1C}">
                <a14:useLocalDpi xmlns="" xmlns:a14="http://schemas.microsoft.com/office/drawing/2010/main" val="0"/>
              </a:ext>
            </a:extLst>
          </a:blip>
          <a:srcRect/>
          <a:stretch>
            <a:fillRect/>
          </a:stretch>
        </p:blipFill>
        <p:spPr bwMode="auto">
          <a:xfrm>
            <a:off x="7638153" y="5932547"/>
            <a:ext cx="259674" cy="266700"/>
          </a:xfrm>
          <a:prstGeom prst="rect">
            <a:avLst/>
          </a:prstGeom>
          <a:noFill/>
        </p:spPr>
      </p:pic>
      <p:pic>
        <p:nvPicPr>
          <p:cNvPr id="18" name="Picture 5" descr="C:\Users\UserSim\Desktop\DS_icons\128x128 shadows\twitter.png">
            <a:hlinkClick r:id="rId22"/>
          </p:cNvPr>
          <p:cNvPicPr>
            <a:picLocks noChangeAspect="1" noChangeArrowheads="1"/>
          </p:cNvPicPr>
          <p:nvPr>
            <p:custDataLst>
              <p:tags r:id="rId12"/>
            </p:custDataLst>
          </p:nvPr>
        </p:nvPicPr>
        <p:blipFill>
          <a:blip r:embed="rId23" cstate="email">
            <a:extLst>
              <a:ext uri="{28A0092B-C50C-407E-A947-70E740481C1C}">
                <a14:useLocalDpi xmlns="" xmlns:a14="http://schemas.microsoft.com/office/drawing/2010/main" val="0"/>
              </a:ext>
            </a:extLst>
          </a:blip>
          <a:srcRect/>
          <a:stretch>
            <a:fillRect/>
          </a:stretch>
        </p:blipFill>
        <p:spPr bwMode="auto">
          <a:xfrm>
            <a:off x="8218819" y="5932547"/>
            <a:ext cx="259674" cy="266700"/>
          </a:xfrm>
          <a:prstGeom prst="rect">
            <a:avLst/>
          </a:prstGeom>
          <a:noFill/>
        </p:spPr>
      </p:pic>
      <p:pic>
        <p:nvPicPr>
          <p:cNvPr id="19" name="Picture 6" descr="C:\Users\UserSim\Desktop\DS_icons\128x128 shadows\youtube.png">
            <a:hlinkClick r:id="rId24"/>
          </p:cNvPr>
          <p:cNvPicPr>
            <a:picLocks noChangeAspect="1" noChangeArrowheads="1"/>
          </p:cNvPicPr>
          <p:nvPr>
            <p:custDataLst>
              <p:tags r:id="rId13"/>
            </p:custDataLst>
          </p:nvPr>
        </p:nvPicPr>
        <p:blipFill>
          <a:blip r:embed="rId25" cstate="email">
            <a:extLst>
              <a:ext uri="{28A0092B-C50C-407E-A947-70E740481C1C}">
                <a14:useLocalDpi xmlns="" xmlns:a14="http://schemas.microsoft.com/office/drawing/2010/main" val="0"/>
              </a:ext>
            </a:extLst>
          </a:blip>
          <a:srcRect/>
          <a:stretch>
            <a:fillRect/>
          </a:stretch>
        </p:blipFill>
        <p:spPr bwMode="auto">
          <a:xfrm>
            <a:off x="8531283" y="5932547"/>
            <a:ext cx="259674" cy="266700"/>
          </a:xfrm>
          <a:prstGeom prst="rect">
            <a:avLst/>
          </a:prstGeom>
          <a:noFill/>
        </p:spPr>
      </p:pic>
      <p:pic>
        <p:nvPicPr>
          <p:cNvPr id="20" name="Image 22" descr="Picto_Slideshare.gif">
            <a:hlinkClick r:id="rId26"/>
          </p:cNvPr>
          <p:cNvPicPr preferRelativeResize="0">
            <a:picLocks/>
          </p:cNvPicPr>
          <p:nvPr>
            <p:custDataLst>
              <p:tags r:id="rId14"/>
            </p:custDataLst>
          </p:nvPr>
        </p:nvPicPr>
        <p:blipFill>
          <a:blip r:embed="rId27" cstate="email">
            <a:extLst>
              <a:ext uri="{28A0092B-C50C-407E-A947-70E740481C1C}">
                <a14:useLocalDpi xmlns="" xmlns:a14="http://schemas.microsoft.com/office/drawing/2010/main" val="0"/>
              </a:ext>
            </a:extLst>
          </a:blip>
          <a:srcRect l="4793" t="6316" r="5718" b="7969"/>
          <a:stretch>
            <a:fillRect/>
          </a:stretch>
        </p:blipFill>
        <p:spPr>
          <a:xfrm>
            <a:off x="7950618" y="5932550"/>
            <a:ext cx="215411"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665" r:id="rId1"/>
    <p:sldLayoutId id="2147483666" r:id="rId2"/>
    <p:sldLayoutId id="2147483667" r:id="rId3"/>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1.xml"/><Relationship Id="rId1" Type="http://schemas.openxmlformats.org/officeDocument/2006/relationships/slideLayout" Target="../slideLayouts/slideLayout7.xml"/><Relationship Id="rId5" Type="http://schemas.openxmlformats.org/officeDocument/2006/relationships/image" Target="../media/image42.png"/><Relationship Id="rId4" Type="http://schemas.openxmlformats.org/officeDocument/2006/relationships/image" Target="../media/image2.jpe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3" Type="http://schemas.openxmlformats.org/officeDocument/2006/relationships/hyperlink" Target="https://coconet.capgemini.com/sf/go/doc9937850?nav=1" TargetMode="External"/><Relationship Id="rId2" Type="http://schemas.openxmlformats.org/officeDocument/2006/relationships/hyperlink" Target="https://coconet.capgemini.com/sf/go/doc10116037?nav=1" TargetMode="External"/><Relationship Id="rId1" Type="http://schemas.openxmlformats.org/officeDocument/2006/relationships/slideLayout" Target="../slideLayouts/slideLayout9.xml"/><Relationship Id="rId5" Type="http://schemas.openxmlformats.org/officeDocument/2006/relationships/hyperlink" Target="https://coconet.capgemini.com/sf/go/doc10115784?nav=1" TargetMode="External"/><Relationship Id="rId4" Type="http://schemas.openxmlformats.org/officeDocument/2006/relationships/hyperlink" Target="https://coconet.capgemini.com/sf/go/doc10115937?nav=1" TargetMode="External"/></Relationships>
</file>

<file path=ppt/slides/_rels/slide6.xml.rels><?xml version="1.0" encoding="UTF-8" standalone="yes"?>
<Relationships xmlns="http://schemas.openxmlformats.org/package/2006/relationships"><Relationship Id="rId2" Type="http://schemas.openxmlformats.org/officeDocument/2006/relationships/hyperlink" Target="https://coconet.capgemini.com/sf/go/doc10116164?nav=1" TargetMode="External"/><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97974" y="391889"/>
            <a:ext cx="6644247" cy="1576287"/>
          </a:xfrm>
          <a:effectLst/>
        </p:spPr>
        <p:txBody>
          <a:bodyPr/>
          <a:lstStyle/>
          <a:p>
            <a:r>
              <a:rPr lang="en-US" dirty="0" smtClean="0">
                <a:solidFill>
                  <a:schemeClr val="tx1"/>
                </a:solidFill>
                <a:effectLst/>
              </a:rPr>
              <a:t>Territories – Knowledge Deck</a:t>
            </a:r>
            <a:endParaRPr lang="en-US" dirty="0">
              <a:solidFill>
                <a:schemeClr val="tx1"/>
              </a:solidFill>
              <a:effectLst/>
            </a:endParaRPr>
          </a:p>
        </p:txBody>
      </p:sp>
      <p:pic>
        <p:nvPicPr>
          <p:cNvPr id="8" name="Picture 7" descr="capgemini_rgb.jpg"/>
          <p:cNvPicPr>
            <a:picLocks noChangeAspect="1"/>
          </p:cNvPicPr>
          <p:nvPr/>
        </p:nvPicPr>
        <p:blipFill>
          <a:blip r:embed="rId3" cstate="print">
            <a:extLst>
              <a:ext uri="{28A0092B-C50C-407E-A947-70E740481C1C}">
                <a14:useLocalDpi xmlns="" xmlns:a14="http://schemas.microsoft.com/office/drawing/2010/main" val="0"/>
              </a:ext>
            </a:extLst>
          </a:blip>
          <a:stretch>
            <a:fillRect/>
          </a:stretch>
        </p:blipFill>
        <p:spPr>
          <a:xfrm>
            <a:off x="6716482" y="1219204"/>
            <a:ext cx="1538693" cy="470378"/>
          </a:xfrm>
          <a:prstGeom prst="rect">
            <a:avLst/>
          </a:prstGeom>
        </p:spPr>
      </p:pic>
      <p:pic>
        <p:nvPicPr>
          <p:cNvPr id="92162" name="Picture 1" descr="HEALTHINEERSsignature"/>
          <p:cNvPicPr>
            <a:picLocks noChangeAspect="1" noChangeArrowheads="1"/>
          </p:cNvPicPr>
          <p:nvPr/>
        </p:nvPicPr>
        <p:blipFill>
          <a:blip r:embed="rId4" cstate="print">
            <a:extLst>
              <a:ext uri="{28A0092B-C50C-407E-A947-70E740481C1C}">
                <a14:useLocalDpi xmlns="" xmlns:a14="http://schemas.microsoft.com/office/drawing/2010/main" val="0"/>
              </a:ext>
            </a:extLst>
          </a:blip>
          <a:srcRect/>
          <a:stretch>
            <a:fillRect/>
          </a:stretch>
        </p:blipFill>
        <p:spPr bwMode="auto">
          <a:xfrm>
            <a:off x="6749318" y="555187"/>
            <a:ext cx="1743760" cy="48984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92163" name="Picture 3"/>
          <p:cNvPicPr>
            <a:picLocks noChangeAspect="1" noChangeArrowheads="1"/>
          </p:cNvPicPr>
          <p:nvPr/>
        </p:nvPicPr>
        <p:blipFill>
          <a:blip r:embed="rId5" cstate="print">
            <a:extLst>
              <a:ext uri="{28A0092B-C50C-407E-A947-70E740481C1C}">
                <a14:useLocalDpi xmlns="" xmlns:a14="http://schemas.microsoft.com/office/drawing/2010/main" val="0"/>
              </a:ext>
            </a:extLst>
          </a:blip>
          <a:srcRect/>
          <a:stretch>
            <a:fillRect/>
          </a:stretch>
        </p:blipFill>
        <p:spPr bwMode="auto">
          <a:xfrm>
            <a:off x="6860121" y="1861455"/>
            <a:ext cx="1476375" cy="420426"/>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Tree>
    <p:extLst>
      <p:ext uri="{BB962C8B-B14F-4D97-AF65-F5344CB8AC3E}">
        <p14:creationId xmlns="" xmlns:p14="http://schemas.microsoft.com/office/powerpoint/2010/main" val="423573502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Territory Management</a:t>
            </a:r>
            <a:endParaRPr lang="en-US" dirty="0"/>
          </a:p>
        </p:txBody>
      </p:sp>
      <p:sp>
        <p:nvSpPr>
          <p:cNvPr id="5" name="TextBox 4"/>
          <p:cNvSpPr txBox="1"/>
          <p:nvPr/>
        </p:nvSpPr>
        <p:spPr>
          <a:xfrm>
            <a:off x="552261" y="1113591"/>
            <a:ext cx="8401616" cy="1646605"/>
          </a:xfrm>
          <a:prstGeom prst="rect">
            <a:avLst/>
          </a:prstGeom>
          <a:noFill/>
        </p:spPr>
        <p:txBody>
          <a:bodyPr wrap="square" rtlCol="0">
            <a:spAutoFit/>
          </a:bodyPr>
          <a:lstStyle/>
          <a:p>
            <a:pPr>
              <a:spcAft>
                <a:spcPts val="600"/>
              </a:spcAft>
            </a:pPr>
            <a:r>
              <a:rPr lang="en-US" sz="1600" b="1" dirty="0" smtClean="0"/>
              <a:t>Overview</a:t>
            </a:r>
          </a:p>
          <a:p>
            <a:pPr>
              <a:lnSpc>
                <a:spcPct val="150000"/>
              </a:lnSpc>
              <a:spcAft>
                <a:spcPts val="600"/>
              </a:spcAft>
            </a:pPr>
            <a:r>
              <a:rPr lang="en-US" sz="1400" dirty="0" smtClean="0"/>
              <a:t>Territories provide the rules for automatically assigning salespeople and other resources to sales accounts, partners, leads, and opportunity line items. The structural hierarchy of territories defines resource responsibilities and controls access to customer and sales data.</a:t>
            </a:r>
          </a:p>
          <a:p>
            <a:pPr>
              <a:spcAft>
                <a:spcPts val="600"/>
              </a:spcAft>
            </a:pPr>
            <a:endParaRPr lang="en-US" sz="1200" dirty="0" err="1" smtClean="0">
              <a:latin typeface="Arial" pitchFamily="34" charset="0"/>
              <a:cs typeface="Arial" pitchFamily="34" charset="0"/>
            </a:endParaRPr>
          </a:p>
        </p:txBody>
      </p:sp>
      <p:sp>
        <p:nvSpPr>
          <p:cNvPr id="89089" name="Rectangle 1"/>
          <p:cNvSpPr>
            <a:spLocks noChangeArrowheads="1"/>
          </p:cNvSpPr>
          <p:nvPr/>
        </p:nvSpPr>
        <p:spPr bwMode="auto">
          <a:xfrm>
            <a:off x="497939" y="2774962"/>
            <a:ext cx="8148943" cy="3262432"/>
          </a:xfrm>
          <a:prstGeom prst="rect">
            <a:avLst/>
          </a:prstGeom>
          <a:noFill/>
          <a:ln w="9525">
            <a:noFill/>
            <a:miter lim="800000"/>
            <a:headEnd/>
            <a:tailEnd/>
          </a:ln>
          <a:effectLst/>
        </p:spPr>
        <p:txBody>
          <a:bodyPr vert="horz" wrap="square" lIns="91440" tIns="0" rIns="91440" bIns="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ts val="600"/>
              </a:spcAft>
              <a:buClrTx/>
              <a:buSzTx/>
              <a:buFontTx/>
              <a:buNone/>
              <a:tabLst/>
            </a:pPr>
            <a:r>
              <a:rPr kumimoji="0" lang="en-US" sz="1600" b="1" i="0" u="none" strike="noStrike" cap="none" normalizeH="0" baseline="0" dirty="0" smtClean="0">
                <a:ln>
                  <a:noFill/>
                </a:ln>
                <a:effectLst/>
                <a:latin typeface="Arial" pitchFamily="34" charset="0"/>
                <a:ea typeface="Calibri" pitchFamily="34" charset="0"/>
                <a:cs typeface="Century Gothic" pitchFamily="34" charset="0"/>
              </a:rPr>
              <a:t>Summary of Features</a:t>
            </a:r>
          </a:p>
          <a:p>
            <a:pPr marL="0" marR="0" lvl="0" indent="0" algn="l" defTabSz="914400" rtl="0" eaLnBrk="0" fontAlgn="base" latinLnBrk="0" hangingPunct="0">
              <a:lnSpc>
                <a:spcPct val="100000"/>
              </a:lnSpc>
              <a:spcAft>
                <a:spcPts val="600"/>
              </a:spcAft>
              <a:buClrTx/>
              <a:buSzTx/>
              <a:buFontTx/>
              <a:buNone/>
              <a:tabLst/>
            </a:pPr>
            <a:r>
              <a:rPr kumimoji="0" lang="en-US" sz="1400" b="0" i="0" u="none" strike="noStrike" cap="none" normalizeH="0" baseline="0" dirty="0" smtClean="0">
                <a:ln>
                  <a:noFill/>
                </a:ln>
                <a:solidFill>
                  <a:srgbClr val="000000"/>
                </a:solidFill>
                <a:effectLst/>
                <a:latin typeface="Arial" pitchFamily="34" charset="0"/>
                <a:ea typeface="Calibri" pitchFamily="34" charset="0"/>
                <a:cs typeface="Century Gothic" pitchFamily="34" charset="0"/>
              </a:rPr>
              <a:t>The key features of Oracle Fusion Territory Management include the following:</a:t>
            </a:r>
            <a:endParaRPr kumimoji="0" lang="en-US" sz="1400" b="0" i="0" u="none" strike="noStrike" cap="none" normalizeH="0" baseline="0" dirty="0" smtClean="0">
              <a:ln>
                <a:noFill/>
              </a:ln>
              <a:solidFill>
                <a:schemeClr val="tx1"/>
              </a:solidFill>
              <a:effectLst/>
              <a:latin typeface="Arial" pitchFamily="34" charset="0"/>
              <a:cs typeface="Arial" pitchFamily="34" charset="0"/>
            </a:endParaRPr>
          </a:p>
          <a:p>
            <a:pPr marL="91440" marR="0" lvl="0" indent="0" algn="just" defTabSz="914400" rtl="0" eaLnBrk="0" fontAlgn="base" latinLnBrk="0" hangingPunct="0">
              <a:lnSpc>
                <a:spcPct val="100000"/>
              </a:lnSpc>
              <a:spcAft>
                <a:spcPts val="600"/>
              </a:spcAft>
              <a:buClrTx/>
              <a:buSzTx/>
              <a:buFont typeface="Wingdings" pitchFamily="2" charset="2"/>
              <a:buChar char="ü"/>
              <a:tabLst/>
            </a:pPr>
            <a:r>
              <a:rPr kumimoji="0" lang="en-US" sz="1400" b="0" i="0" u="none" strike="noStrike" cap="none" normalizeH="0" baseline="0" dirty="0" smtClean="0">
                <a:ln>
                  <a:noFill/>
                </a:ln>
                <a:solidFill>
                  <a:srgbClr val="000000"/>
                </a:solidFill>
                <a:effectLst/>
                <a:latin typeface="Arial" pitchFamily="34" charset="0"/>
                <a:ea typeface="Calibri" pitchFamily="34" charset="0"/>
                <a:cs typeface="Century Gothic" pitchFamily="34" charset="0"/>
              </a:rPr>
              <a:t> Use territories to assign resources and secure access to sales accounts, leads, and opportunities</a:t>
            </a:r>
          </a:p>
          <a:p>
            <a:pPr marL="91440" marR="0" lvl="0" indent="0" algn="just" defTabSz="914400" rtl="0" eaLnBrk="0" fontAlgn="base" latinLnBrk="0" hangingPunct="0">
              <a:lnSpc>
                <a:spcPct val="100000"/>
              </a:lnSpc>
              <a:spcAft>
                <a:spcPts val="600"/>
              </a:spcAft>
              <a:buClrTx/>
              <a:buSzTx/>
              <a:buFont typeface="Wingdings" pitchFamily="2" charset="2"/>
              <a:buChar char="ü"/>
              <a:tabLst/>
            </a:pPr>
            <a:r>
              <a:rPr lang="en-US" sz="1400" dirty="0" smtClean="0">
                <a:solidFill>
                  <a:srgbClr val="000000"/>
                </a:solidFill>
                <a:latin typeface="Arial" pitchFamily="34" charset="0"/>
                <a:ea typeface="Calibri" pitchFamily="34" charset="0"/>
                <a:cs typeface="Century Gothic" pitchFamily="34" charset="0"/>
              </a:rPr>
              <a:t> </a:t>
            </a:r>
            <a:r>
              <a:rPr kumimoji="0" lang="en-US" sz="1400" b="0" i="0" u="none" strike="noStrike" cap="none" normalizeH="0" baseline="0" dirty="0" smtClean="0">
                <a:ln>
                  <a:noFill/>
                </a:ln>
                <a:solidFill>
                  <a:srgbClr val="000000"/>
                </a:solidFill>
                <a:effectLst/>
                <a:latin typeface="Arial" pitchFamily="34" charset="0"/>
                <a:ea typeface="Calibri" pitchFamily="34" charset="0"/>
                <a:cs typeface="Century Gothic" pitchFamily="34" charset="0"/>
              </a:rPr>
              <a:t>Define territories by logical boundaries called dimensions. Available dimension are geography, industry, product, customer size, sales channel, Business</a:t>
            </a:r>
            <a:r>
              <a:rPr kumimoji="0" lang="en-US" sz="1400" b="0" i="0" u="none" strike="noStrike" cap="none" normalizeH="0" dirty="0" smtClean="0">
                <a:ln>
                  <a:noFill/>
                </a:ln>
                <a:solidFill>
                  <a:srgbClr val="000000"/>
                </a:solidFill>
                <a:effectLst/>
                <a:latin typeface="Arial" pitchFamily="34" charset="0"/>
                <a:ea typeface="Calibri" pitchFamily="34" charset="0"/>
                <a:cs typeface="Century Gothic" pitchFamily="34" charset="0"/>
              </a:rPr>
              <a:t> units, </a:t>
            </a:r>
            <a:r>
              <a:rPr kumimoji="0" lang="en-US" sz="1400" b="0" i="0" u="none" strike="noStrike" cap="none" normalizeH="0" baseline="0" dirty="0" smtClean="0">
                <a:ln>
                  <a:noFill/>
                </a:ln>
                <a:solidFill>
                  <a:srgbClr val="000000"/>
                </a:solidFill>
                <a:effectLst/>
                <a:latin typeface="Arial" pitchFamily="34" charset="0"/>
                <a:ea typeface="Calibri" pitchFamily="34" charset="0"/>
                <a:cs typeface="Century Gothic" pitchFamily="34" charset="0"/>
              </a:rPr>
              <a:t>organization type, Account</a:t>
            </a:r>
            <a:r>
              <a:rPr kumimoji="0" lang="en-US" sz="1400" b="0" i="0" u="none" strike="noStrike" cap="none" normalizeH="0" dirty="0" smtClean="0">
                <a:ln>
                  <a:noFill/>
                </a:ln>
                <a:solidFill>
                  <a:srgbClr val="000000"/>
                </a:solidFill>
                <a:effectLst/>
                <a:latin typeface="Arial" pitchFamily="34" charset="0"/>
                <a:ea typeface="Calibri" pitchFamily="34" charset="0"/>
                <a:cs typeface="Century Gothic" pitchFamily="34" charset="0"/>
              </a:rPr>
              <a:t> Type and 3 Auxiliary dimensions</a:t>
            </a:r>
            <a:endParaRPr kumimoji="0" lang="en-US" sz="1400" b="0" i="0" u="none" strike="noStrike" cap="none" normalizeH="0" baseline="0" dirty="0" smtClean="0">
              <a:ln>
                <a:noFill/>
              </a:ln>
              <a:solidFill>
                <a:srgbClr val="000000"/>
              </a:solidFill>
              <a:effectLst/>
              <a:latin typeface="Arial" pitchFamily="34" charset="0"/>
              <a:ea typeface="Calibri" pitchFamily="34" charset="0"/>
              <a:cs typeface="Century Gothic" pitchFamily="34" charset="0"/>
            </a:endParaRPr>
          </a:p>
          <a:p>
            <a:pPr marL="91440" marR="0" lvl="0" indent="0" algn="just" defTabSz="914400" rtl="0" eaLnBrk="0" fontAlgn="base" latinLnBrk="0" hangingPunct="0">
              <a:lnSpc>
                <a:spcPct val="100000"/>
              </a:lnSpc>
              <a:spcAft>
                <a:spcPts val="600"/>
              </a:spcAft>
              <a:buClrTx/>
              <a:buSzTx/>
              <a:buFont typeface="Wingdings" pitchFamily="2" charset="2"/>
              <a:buChar char="ü"/>
              <a:tabLst/>
            </a:pPr>
            <a:r>
              <a:rPr lang="en-US" sz="1400" dirty="0" smtClean="0">
                <a:solidFill>
                  <a:srgbClr val="000000"/>
                </a:solidFill>
                <a:latin typeface="Arial" pitchFamily="34" charset="0"/>
                <a:ea typeface="Calibri" pitchFamily="34" charset="0"/>
                <a:cs typeface="Century Gothic" pitchFamily="34" charset="0"/>
              </a:rPr>
              <a:t> </a:t>
            </a:r>
            <a:r>
              <a:rPr kumimoji="0" lang="en-US" sz="1400" b="0" i="0" u="none" strike="noStrike" cap="none" normalizeH="0" baseline="0" dirty="0" smtClean="0">
                <a:ln>
                  <a:noFill/>
                </a:ln>
                <a:solidFill>
                  <a:srgbClr val="000000"/>
                </a:solidFill>
                <a:effectLst/>
                <a:latin typeface="Arial" pitchFamily="34" charset="0"/>
                <a:ea typeface="Calibri" pitchFamily="34" charset="0"/>
                <a:cs typeface="Century Gothic" pitchFamily="34" charset="0"/>
              </a:rPr>
              <a:t>Define territories by selecting a list of specific sales accounts or partners.</a:t>
            </a:r>
            <a:endParaRPr lang="en-US" sz="1400" dirty="0" smtClean="0">
              <a:solidFill>
                <a:srgbClr val="000000"/>
              </a:solidFill>
              <a:latin typeface="Arial" pitchFamily="34" charset="0"/>
              <a:ea typeface="Calibri" pitchFamily="34" charset="0"/>
              <a:cs typeface="Times New Roman" pitchFamily="18" charset="0"/>
            </a:endParaRPr>
          </a:p>
          <a:p>
            <a:pPr marL="91440" marR="0" lvl="0" indent="0" algn="just" defTabSz="914400" rtl="0" eaLnBrk="0" fontAlgn="base" latinLnBrk="0" hangingPunct="0">
              <a:lnSpc>
                <a:spcPct val="100000"/>
              </a:lnSpc>
              <a:spcAft>
                <a:spcPts val="600"/>
              </a:spcAft>
              <a:buClrTx/>
              <a:buSzTx/>
              <a:buFont typeface="Wingdings" pitchFamily="2" charset="2"/>
              <a:buChar char="ü"/>
              <a:tabLst/>
            </a:pPr>
            <a:r>
              <a:rPr kumimoji="0" lang="en-US" sz="1400" b="0" i="0" u="none" strike="noStrike" cap="none" normalizeH="0" dirty="0" smtClean="0">
                <a:ln>
                  <a:noFill/>
                </a:ln>
                <a:solidFill>
                  <a:srgbClr val="000000"/>
                </a:solidFill>
                <a:effectLst/>
                <a:latin typeface="Arial" pitchFamily="34" charset="0"/>
                <a:ea typeface="Calibri" pitchFamily="34" charset="0"/>
                <a:cs typeface="Times New Roman" pitchFamily="18" charset="0"/>
              </a:rPr>
              <a:t> </a:t>
            </a:r>
            <a:r>
              <a:rPr kumimoji="0" lang="en-US" sz="1400" b="0" i="0" u="none" strike="noStrike" cap="none" normalizeH="0" baseline="0" dirty="0" smtClean="0">
                <a:ln>
                  <a:noFill/>
                </a:ln>
                <a:solidFill>
                  <a:srgbClr val="000000"/>
                </a:solidFill>
                <a:effectLst/>
                <a:latin typeface="Arial" pitchFamily="34" charset="0"/>
                <a:ea typeface="Calibri" pitchFamily="34" charset="0"/>
                <a:cs typeface="Century Gothic" pitchFamily="34" charset="0"/>
              </a:rPr>
              <a:t>Model territory realignments and perform what-if analyses to find optimal territory changes.</a:t>
            </a:r>
            <a:endParaRPr kumimoji="0" lang="en-US" sz="1400" b="0" i="0" u="none" strike="noStrike" cap="none" normalizeH="0" baseline="0" dirty="0" smtClean="0">
              <a:ln>
                <a:noFill/>
              </a:ln>
              <a:solidFill>
                <a:srgbClr val="000000"/>
              </a:solidFill>
              <a:effectLst/>
              <a:latin typeface="Arial" pitchFamily="34" charset="0"/>
              <a:ea typeface="Calibri" pitchFamily="34" charset="0"/>
              <a:cs typeface="Times New Roman" pitchFamily="18" charset="0"/>
            </a:endParaRPr>
          </a:p>
          <a:p>
            <a:pPr marL="91440" marR="0" lvl="0" indent="0" algn="just" defTabSz="914400" rtl="0" eaLnBrk="0" fontAlgn="base" latinLnBrk="0" hangingPunct="0">
              <a:lnSpc>
                <a:spcPct val="100000"/>
              </a:lnSpc>
              <a:spcAft>
                <a:spcPts val="600"/>
              </a:spcAft>
              <a:buClrTx/>
              <a:buSzTx/>
              <a:buFont typeface="Wingdings" pitchFamily="2" charset="2"/>
              <a:buChar char="ü"/>
              <a:tabLst/>
            </a:pPr>
            <a:r>
              <a:rPr kumimoji="0" lang="en-US" sz="1400" b="0" i="0" u="none" strike="noStrike" cap="none" normalizeH="0" baseline="0" dirty="0" smtClean="0">
                <a:ln>
                  <a:noFill/>
                </a:ln>
                <a:solidFill>
                  <a:srgbClr val="000000"/>
                </a:solidFill>
                <a:effectLst/>
                <a:latin typeface="Arial" pitchFamily="34" charset="0"/>
                <a:ea typeface="Calibri" pitchFamily="34" charset="0"/>
                <a:cs typeface="Century Gothic" pitchFamily="34" charset="0"/>
              </a:rPr>
              <a:t> Analyze metrics to understand the results of changes to the boundaries of each territory. View gap and overlap reports to see whether there are any undesired results.</a:t>
            </a:r>
            <a:endParaRPr kumimoji="0" lang="en-US" sz="1400" b="0" i="0" u="none" strike="noStrike" cap="none" normalizeH="0" baseline="0" dirty="0" smtClean="0">
              <a:ln>
                <a:noFill/>
              </a:ln>
              <a:solidFill>
                <a:srgbClr val="000000"/>
              </a:solidFill>
              <a:effectLst/>
              <a:latin typeface="Arial" pitchFamily="34" charset="0"/>
              <a:ea typeface="Calibri" pitchFamily="34" charset="0"/>
              <a:cs typeface="Times New Roman" pitchFamily="18" charset="0"/>
            </a:endParaRPr>
          </a:p>
          <a:p>
            <a:pPr marL="91440" marR="0" lvl="0" indent="0" algn="just" defTabSz="914400" rtl="0" eaLnBrk="0" fontAlgn="base" latinLnBrk="0" hangingPunct="0">
              <a:lnSpc>
                <a:spcPct val="100000"/>
              </a:lnSpc>
              <a:spcAft>
                <a:spcPts val="600"/>
              </a:spcAft>
              <a:buClrTx/>
              <a:buSzTx/>
              <a:buFont typeface="Wingdings" pitchFamily="2" charset="2"/>
              <a:buChar char="ü"/>
              <a:tabLst/>
            </a:pPr>
            <a:r>
              <a:rPr kumimoji="0" lang="en-US" sz="1400" b="0" i="0" u="none" strike="noStrike" cap="none" normalizeH="0" baseline="0" dirty="0" smtClean="0">
                <a:ln>
                  <a:noFill/>
                </a:ln>
                <a:solidFill>
                  <a:srgbClr val="000000"/>
                </a:solidFill>
                <a:effectLst/>
                <a:latin typeface="Arial" pitchFamily="34" charset="0"/>
                <a:ea typeface="Calibri" pitchFamily="34" charset="0"/>
                <a:cs typeface="Century Gothic" pitchFamily="34" charset="0"/>
              </a:rPr>
              <a:t> Use assignment preview to double-check that each territory is getting the right accounts.</a:t>
            </a:r>
            <a:endParaRPr kumimoji="0" lang="en-US" sz="14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Tree>
    <p:extLst>
      <p:ext uri="{BB962C8B-B14F-4D97-AF65-F5344CB8AC3E}">
        <p14:creationId xmlns:p14="http://schemas.microsoft.com/office/powerpoint/2010/main" xmlns="" val="293021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Rule Based Assignments</a:t>
            </a:r>
            <a:endParaRPr lang="en-US" dirty="0"/>
          </a:p>
        </p:txBody>
      </p:sp>
      <p:sp>
        <p:nvSpPr>
          <p:cNvPr id="5" name="TextBox 4"/>
          <p:cNvSpPr txBox="1"/>
          <p:nvPr/>
        </p:nvSpPr>
        <p:spPr>
          <a:xfrm>
            <a:off x="552261" y="1113591"/>
            <a:ext cx="8401616" cy="1646605"/>
          </a:xfrm>
          <a:prstGeom prst="rect">
            <a:avLst/>
          </a:prstGeom>
          <a:noFill/>
        </p:spPr>
        <p:txBody>
          <a:bodyPr wrap="square" rtlCol="0">
            <a:spAutoFit/>
          </a:bodyPr>
          <a:lstStyle/>
          <a:p>
            <a:pPr>
              <a:spcAft>
                <a:spcPts val="600"/>
              </a:spcAft>
            </a:pPr>
            <a:r>
              <a:rPr lang="en-US" sz="1600" b="1" dirty="0" smtClean="0"/>
              <a:t>Overview</a:t>
            </a:r>
          </a:p>
          <a:p>
            <a:pPr>
              <a:lnSpc>
                <a:spcPct val="150000"/>
              </a:lnSpc>
              <a:spcAft>
                <a:spcPts val="600"/>
              </a:spcAft>
            </a:pPr>
            <a:r>
              <a:rPr lang="en-US" sz="1400" dirty="0" smtClean="0">
                <a:latin typeface="+mj-lt"/>
              </a:rPr>
              <a:t>Rule-based assignment is used for identifying supplemental resources or filtering the matching territories. Rules can also be used for scoring work objects. You can use the rules editor to create expression-based rules that the assignment engine uses to make candidate assignments</a:t>
            </a:r>
            <a:r>
              <a:rPr lang="en-US" sz="1200" dirty="0" smtClean="0">
                <a:latin typeface="+mj-lt"/>
              </a:rPr>
              <a:t>.</a:t>
            </a:r>
          </a:p>
          <a:p>
            <a:pPr>
              <a:spcAft>
                <a:spcPts val="600"/>
              </a:spcAft>
            </a:pPr>
            <a:endParaRPr lang="en-US" sz="1200" dirty="0" err="1" smtClean="0">
              <a:latin typeface="Arial" pitchFamily="34" charset="0"/>
              <a:cs typeface="Arial" pitchFamily="34" charset="0"/>
            </a:endParaRPr>
          </a:p>
        </p:txBody>
      </p:sp>
      <p:sp>
        <p:nvSpPr>
          <p:cNvPr id="89089" name="Rectangle 1"/>
          <p:cNvSpPr>
            <a:spLocks noChangeArrowheads="1"/>
          </p:cNvSpPr>
          <p:nvPr/>
        </p:nvSpPr>
        <p:spPr bwMode="auto">
          <a:xfrm>
            <a:off x="497939" y="2835517"/>
            <a:ext cx="8148943" cy="2323713"/>
          </a:xfrm>
          <a:prstGeom prst="rect">
            <a:avLst/>
          </a:prstGeom>
          <a:noFill/>
          <a:ln w="9525">
            <a:noFill/>
            <a:miter lim="800000"/>
            <a:headEnd/>
            <a:tailEnd/>
          </a:ln>
          <a:effectLst/>
        </p:spPr>
        <p:txBody>
          <a:bodyPr vert="horz" wrap="square" lIns="91440" tIns="0" rIns="91440" bIns="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ts val="600"/>
              </a:spcAft>
              <a:buClrTx/>
              <a:buSzTx/>
              <a:buFontTx/>
              <a:buNone/>
              <a:tabLst/>
            </a:pPr>
            <a:r>
              <a:rPr kumimoji="0" lang="en-US" sz="1600" b="1" i="0" u="none" strike="noStrike" cap="none" normalizeH="0" baseline="0" dirty="0" smtClean="0">
                <a:ln>
                  <a:noFill/>
                </a:ln>
                <a:effectLst/>
                <a:latin typeface="Arial" pitchFamily="34" charset="0"/>
                <a:ea typeface="Calibri" pitchFamily="34" charset="0"/>
                <a:cs typeface="Century Gothic" pitchFamily="34" charset="0"/>
              </a:rPr>
              <a:t>Summary of Features</a:t>
            </a:r>
          </a:p>
          <a:p>
            <a:pPr marL="0" marR="0" lvl="0" indent="0" algn="l" defTabSz="914400" rtl="0" eaLnBrk="0" fontAlgn="base" latinLnBrk="0" hangingPunct="0">
              <a:lnSpc>
                <a:spcPct val="100000"/>
              </a:lnSpc>
              <a:spcAft>
                <a:spcPts val="600"/>
              </a:spcAft>
              <a:buClrTx/>
              <a:buSzTx/>
              <a:buFontTx/>
              <a:buNone/>
              <a:tabLst/>
            </a:pPr>
            <a:r>
              <a:rPr kumimoji="0" lang="en-US" sz="1400" b="0" i="0" u="none" strike="noStrike" cap="none" normalizeH="0" baseline="0" dirty="0" smtClean="0">
                <a:ln>
                  <a:noFill/>
                </a:ln>
                <a:solidFill>
                  <a:srgbClr val="000000"/>
                </a:solidFill>
                <a:effectLst/>
                <a:latin typeface="Arial" pitchFamily="34" charset="0"/>
                <a:ea typeface="Calibri" pitchFamily="34" charset="0"/>
                <a:cs typeface="Century Gothic" pitchFamily="34" charset="0"/>
              </a:rPr>
              <a:t>The key features of Rule</a:t>
            </a:r>
            <a:r>
              <a:rPr kumimoji="0" lang="en-US" sz="1400" b="0" i="0" u="none" strike="noStrike" cap="none" normalizeH="0" dirty="0" smtClean="0">
                <a:ln>
                  <a:noFill/>
                </a:ln>
                <a:solidFill>
                  <a:srgbClr val="000000"/>
                </a:solidFill>
                <a:effectLst/>
                <a:latin typeface="Arial" pitchFamily="34" charset="0"/>
                <a:ea typeface="Calibri" pitchFamily="34" charset="0"/>
                <a:cs typeface="Century Gothic" pitchFamily="34" charset="0"/>
              </a:rPr>
              <a:t> based assignment </a:t>
            </a:r>
            <a:r>
              <a:rPr kumimoji="0" lang="en-US" sz="1400" b="0" i="0" u="none" strike="noStrike" cap="none" normalizeH="0" baseline="0" dirty="0" smtClean="0">
                <a:ln>
                  <a:noFill/>
                </a:ln>
                <a:solidFill>
                  <a:srgbClr val="000000"/>
                </a:solidFill>
                <a:effectLst/>
                <a:latin typeface="Arial" pitchFamily="34" charset="0"/>
                <a:ea typeface="Calibri" pitchFamily="34" charset="0"/>
                <a:cs typeface="Century Gothic" pitchFamily="34" charset="0"/>
              </a:rPr>
              <a:t>Management include the following:</a:t>
            </a:r>
            <a:endParaRPr kumimoji="0" lang="en-US" sz="1400" b="0" i="0" u="none" strike="noStrike" cap="none" normalizeH="0" baseline="0" dirty="0" smtClean="0">
              <a:ln>
                <a:noFill/>
              </a:ln>
              <a:solidFill>
                <a:schemeClr val="tx1"/>
              </a:solidFill>
              <a:effectLst/>
              <a:latin typeface="Arial" pitchFamily="34" charset="0"/>
              <a:cs typeface="Arial" pitchFamily="34" charset="0"/>
            </a:endParaRPr>
          </a:p>
          <a:p>
            <a:pPr marL="91440" marR="0" lvl="0" indent="0" algn="just" defTabSz="914400" rtl="0" eaLnBrk="0" fontAlgn="base" latinLnBrk="0" hangingPunct="0">
              <a:lnSpc>
                <a:spcPct val="100000"/>
              </a:lnSpc>
              <a:spcAft>
                <a:spcPts val="600"/>
              </a:spcAft>
              <a:buClrTx/>
              <a:buSzTx/>
              <a:buFont typeface="Wingdings" pitchFamily="2" charset="2"/>
              <a:buChar char="ü"/>
              <a:tabLst/>
            </a:pPr>
            <a:r>
              <a:rPr kumimoji="0" lang="en-US" sz="1400" b="0" i="0" u="none" strike="noStrike" cap="none" normalizeH="0" baseline="0" dirty="0" smtClean="0">
                <a:ln>
                  <a:noFill/>
                </a:ln>
                <a:solidFill>
                  <a:srgbClr val="000000"/>
                </a:solidFill>
                <a:effectLst/>
                <a:latin typeface="Arial" pitchFamily="34" charset="0"/>
                <a:ea typeface="Calibri" pitchFamily="34" charset="0"/>
                <a:cs typeface="Century Gothic" pitchFamily="34" charset="0"/>
              </a:rPr>
              <a:t> Similar to Siebel</a:t>
            </a:r>
            <a:r>
              <a:rPr kumimoji="0" lang="en-US" sz="1400" b="0" i="0" u="none" strike="noStrike" cap="none" normalizeH="0" dirty="0" smtClean="0">
                <a:ln>
                  <a:noFill/>
                </a:ln>
                <a:solidFill>
                  <a:srgbClr val="000000"/>
                </a:solidFill>
                <a:effectLst/>
                <a:latin typeface="Arial" pitchFamily="34" charset="0"/>
                <a:ea typeface="Calibri" pitchFamily="34" charset="0"/>
                <a:cs typeface="Century Gothic" pitchFamily="34" charset="0"/>
              </a:rPr>
              <a:t> Assignment </a:t>
            </a:r>
            <a:r>
              <a:rPr lang="en-US" sz="1400" dirty="0" smtClean="0">
                <a:solidFill>
                  <a:srgbClr val="000000"/>
                </a:solidFill>
                <a:latin typeface="Arial" pitchFamily="34" charset="0"/>
                <a:ea typeface="Calibri" pitchFamily="34" charset="0"/>
                <a:cs typeface="Century Gothic" pitchFamily="34" charset="0"/>
              </a:rPr>
              <a:t>rules mechanism</a:t>
            </a:r>
          </a:p>
          <a:p>
            <a:pPr marL="91440" marR="0" lvl="0" indent="0" algn="just" defTabSz="914400" rtl="0" eaLnBrk="0" fontAlgn="base" latinLnBrk="0" hangingPunct="0">
              <a:lnSpc>
                <a:spcPct val="100000"/>
              </a:lnSpc>
              <a:spcAft>
                <a:spcPts val="600"/>
              </a:spcAft>
              <a:buClrTx/>
              <a:buSzTx/>
              <a:buFont typeface="Wingdings" pitchFamily="2" charset="2"/>
              <a:buChar char="ü"/>
              <a:tabLst/>
            </a:pPr>
            <a:r>
              <a:rPr kumimoji="0" lang="en-US" sz="1400" b="0" i="0" u="none" strike="noStrike" cap="none" normalizeH="0" baseline="0" dirty="0" smtClean="0">
                <a:ln>
                  <a:noFill/>
                </a:ln>
                <a:solidFill>
                  <a:srgbClr val="000000"/>
                </a:solidFill>
                <a:effectLst/>
                <a:latin typeface="Arial" pitchFamily="34" charset="0"/>
                <a:ea typeface="Calibri" pitchFamily="34" charset="0"/>
                <a:cs typeface="Century Gothic" pitchFamily="34" charset="0"/>
              </a:rPr>
              <a:t> You can assign </a:t>
            </a:r>
            <a:r>
              <a:rPr lang="en-US" sz="1400" dirty="0" smtClean="0">
                <a:solidFill>
                  <a:srgbClr val="000000"/>
                </a:solidFill>
                <a:latin typeface="Arial" pitchFamily="34" charset="0"/>
                <a:ea typeface="Calibri" pitchFamily="34" charset="0"/>
                <a:cs typeface="Century Gothic" pitchFamily="34" charset="0"/>
              </a:rPr>
              <a:t>additional resource to </a:t>
            </a:r>
            <a:r>
              <a:rPr kumimoji="0" lang="en-US" sz="1400" b="0" i="0" u="none" strike="noStrike" cap="none" normalizeH="0" baseline="0" dirty="0" smtClean="0">
                <a:ln>
                  <a:noFill/>
                </a:ln>
                <a:solidFill>
                  <a:srgbClr val="000000"/>
                </a:solidFill>
                <a:effectLst/>
                <a:latin typeface="Arial" pitchFamily="34" charset="0"/>
                <a:ea typeface="Calibri" pitchFamily="34" charset="0"/>
                <a:cs typeface="Century Gothic" pitchFamily="34" charset="0"/>
              </a:rPr>
              <a:t>leads, and opportunities based on Rule based filtering</a:t>
            </a:r>
          </a:p>
          <a:p>
            <a:pPr marL="91440" marR="0" lvl="0" indent="0" algn="just" defTabSz="914400" rtl="0" eaLnBrk="0" fontAlgn="base" latinLnBrk="0" hangingPunct="0">
              <a:lnSpc>
                <a:spcPct val="100000"/>
              </a:lnSpc>
              <a:spcAft>
                <a:spcPts val="600"/>
              </a:spcAft>
              <a:buClrTx/>
              <a:buSzTx/>
              <a:buFont typeface="Wingdings" pitchFamily="2" charset="2"/>
              <a:buChar char="ü"/>
              <a:tabLst/>
            </a:pPr>
            <a:r>
              <a:rPr lang="en-US" sz="1400" dirty="0" smtClean="0">
                <a:solidFill>
                  <a:srgbClr val="000000"/>
                </a:solidFill>
                <a:latin typeface="Arial" pitchFamily="34" charset="0"/>
                <a:ea typeface="Calibri" pitchFamily="34" charset="0"/>
                <a:cs typeface="Century Gothic" pitchFamily="34" charset="0"/>
              </a:rPr>
              <a:t> Option to randomly assign a resource based on scoring criteria</a:t>
            </a:r>
          </a:p>
          <a:p>
            <a:pPr marL="91440" marR="0" lvl="0" indent="0" algn="just" defTabSz="914400" rtl="0" eaLnBrk="0" fontAlgn="base" latinLnBrk="0" hangingPunct="0">
              <a:lnSpc>
                <a:spcPct val="100000"/>
              </a:lnSpc>
              <a:spcAft>
                <a:spcPts val="600"/>
              </a:spcAft>
              <a:buClrTx/>
              <a:buSzTx/>
              <a:buFont typeface="Wingdings" pitchFamily="2" charset="2"/>
              <a:buChar char="ü"/>
              <a:tabLst/>
            </a:pPr>
            <a:r>
              <a:rPr kumimoji="0" lang="en-US" sz="1400" b="0" i="0" u="none" strike="noStrike" cap="none" normalizeH="0" baseline="0" dirty="0" smtClean="0">
                <a:ln>
                  <a:noFill/>
                </a:ln>
                <a:solidFill>
                  <a:srgbClr val="000000"/>
                </a:solidFill>
                <a:effectLst/>
                <a:latin typeface="Arial" pitchFamily="34" charset="0"/>
                <a:ea typeface="Calibri" pitchFamily="34" charset="0"/>
                <a:cs typeface="Century Gothic" pitchFamily="34" charset="0"/>
              </a:rPr>
              <a:t> Supports lead qualification,</a:t>
            </a:r>
            <a:r>
              <a:rPr kumimoji="0" lang="en-US" sz="1400" b="0" i="0" u="none" strike="noStrike" cap="none" normalizeH="0" dirty="0" smtClean="0">
                <a:ln>
                  <a:noFill/>
                </a:ln>
                <a:solidFill>
                  <a:srgbClr val="000000"/>
                </a:solidFill>
                <a:effectLst/>
                <a:latin typeface="Arial" pitchFamily="34" charset="0"/>
                <a:ea typeface="Calibri" pitchFamily="34" charset="0"/>
                <a:cs typeface="Century Gothic" pitchFamily="34" charset="0"/>
              </a:rPr>
              <a:t> lead scoring, Lead Ranking </a:t>
            </a:r>
            <a:r>
              <a:rPr kumimoji="0" lang="en-US" sz="1400" b="0" i="0" u="none" strike="noStrike" cap="none" normalizeH="0" baseline="0" dirty="0" smtClean="0">
                <a:ln>
                  <a:noFill/>
                </a:ln>
                <a:solidFill>
                  <a:srgbClr val="000000"/>
                </a:solidFill>
                <a:effectLst/>
                <a:latin typeface="Arial" pitchFamily="34" charset="0"/>
                <a:ea typeface="Calibri" pitchFamily="34" charset="0"/>
                <a:cs typeface="Century Gothic" pitchFamily="34" charset="0"/>
              </a:rPr>
              <a:t>business rules</a:t>
            </a:r>
          </a:p>
          <a:p>
            <a:pPr marL="91440" marR="0" lvl="0" indent="0" algn="just" defTabSz="914400" rtl="0" eaLnBrk="0" fontAlgn="base" latinLnBrk="0" hangingPunct="0">
              <a:lnSpc>
                <a:spcPct val="100000"/>
              </a:lnSpc>
              <a:spcAft>
                <a:spcPts val="600"/>
              </a:spcAft>
              <a:buClrTx/>
              <a:buSzTx/>
              <a:tabLst/>
            </a:pPr>
            <a:endParaRPr kumimoji="0" lang="en-US" sz="12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Tree>
    <p:extLst>
      <p:ext uri="{BB962C8B-B14F-4D97-AF65-F5344CB8AC3E}">
        <p14:creationId xmlns:p14="http://schemas.microsoft.com/office/powerpoint/2010/main" xmlns="" val="293021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Territory Dimensions</a:t>
            </a:r>
            <a:endParaRPr lang="en-US" dirty="0"/>
          </a:p>
        </p:txBody>
      </p:sp>
      <p:graphicFrame>
        <p:nvGraphicFramePr>
          <p:cNvPr id="5" name="Table 4"/>
          <p:cNvGraphicFramePr>
            <a:graphicFrameLocks noGrp="1"/>
          </p:cNvGraphicFramePr>
          <p:nvPr/>
        </p:nvGraphicFramePr>
        <p:xfrm>
          <a:off x="736348" y="1223672"/>
          <a:ext cx="7692427" cy="4579596"/>
        </p:xfrm>
        <a:graphic>
          <a:graphicData uri="http://schemas.openxmlformats.org/drawingml/2006/table">
            <a:tbl>
              <a:tblPr/>
              <a:tblGrid>
                <a:gridCol w="1961988"/>
                <a:gridCol w="5730439"/>
              </a:tblGrid>
              <a:tr h="254422">
                <a:tc>
                  <a:txBody>
                    <a:bodyPr/>
                    <a:lstStyle/>
                    <a:p>
                      <a:pPr algn="l" fontAlgn="t"/>
                      <a:r>
                        <a:rPr lang="en-US" sz="1100" b="1" i="0" u="none" strike="noStrike" dirty="0">
                          <a:solidFill>
                            <a:srgbClr val="000000"/>
                          </a:solidFill>
                          <a:latin typeface="+mn-lt"/>
                        </a:rPr>
                        <a:t>Dimension Name</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l" fontAlgn="t"/>
                      <a:r>
                        <a:rPr lang="en-US" sz="1100" b="1" i="0" u="none" strike="noStrike">
                          <a:solidFill>
                            <a:srgbClr val="000000"/>
                          </a:solidFill>
                          <a:latin typeface="+mn-lt"/>
                        </a:rPr>
                        <a:t>Description</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r>
              <a:tr h="254422">
                <a:tc>
                  <a:txBody>
                    <a:bodyPr/>
                    <a:lstStyle/>
                    <a:p>
                      <a:pPr algn="l" fontAlgn="t"/>
                      <a:r>
                        <a:rPr lang="en-US" sz="1100" b="0" i="0" u="none" strike="noStrike" dirty="0">
                          <a:solidFill>
                            <a:srgbClr val="000000"/>
                          </a:solidFill>
                          <a:latin typeface="+mn-lt"/>
                        </a:rPr>
                        <a:t>1. Geography</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100" b="0" i="0" u="none" strike="noStrike" dirty="0">
                          <a:solidFill>
                            <a:srgbClr val="000000"/>
                          </a:solidFill>
                          <a:latin typeface="+mn-lt"/>
                        </a:rPr>
                        <a:t>We can have a geography based on </a:t>
                      </a:r>
                      <a:r>
                        <a:rPr lang="en-US" sz="1100" b="0" i="0" u="none" strike="noStrike" dirty="0" err="1">
                          <a:solidFill>
                            <a:srgbClr val="000000"/>
                          </a:solidFill>
                          <a:latin typeface="+mn-lt"/>
                        </a:rPr>
                        <a:t>Country,State,City,Postal</a:t>
                      </a:r>
                      <a:r>
                        <a:rPr lang="en-US" sz="1100" b="0" i="0" u="none" strike="noStrike" dirty="0">
                          <a:solidFill>
                            <a:srgbClr val="000000"/>
                          </a:solidFill>
                          <a:latin typeface="+mn-lt"/>
                        </a:rPr>
                        <a:t> Code etc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54422">
                <a:tc>
                  <a:txBody>
                    <a:bodyPr/>
                    <a:lstStyle/>
                    <a:p>
                      <a:pPr algn="l" fontAlgn="t"/>
                      <a:r>
                        <a:rPr lang="en-US" sz="1100" b="0" i="0" u="none" strike="noStrike">
                          <a:solidFill>
                            <a:srgbClr val="000000"/>
                          </a:solidFill>
                          <a:latin typeface="+mn-lt"/>
                        </a:rPr>
                        <a:t>2. Account Type</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100" b="0" i="0" u="none" strike="noStrike" dirty="0">
                          <a:solidFill>
                            <a:srgbClr val="000000"/>
                          </a:solidFill>
                          <a:latin typeface="+mn-lt"/>
                        </a:rPr>
                        <a:t> Account Type offers two values: Named and Not Named</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54422">
                <a:tc>
                  <a:txBody>
                    <a:bodyPr/>
                    <a:lstStyle/>
                    <a:p>
                      <a:pPr algn="l" fontAlgn="t"/>
                      <a:r>
                        <a:rPr lang="en-US" sz="1100" b="0" i="0" u="none" strike="noStrike">
                          <a:solidFill>
                            <a:srgbClr val="000000"/>
                          </a:solidFill>
                          <a:latin typeface="+mn-lt"/>
                        </a:rPr>
                        <a:t>8. Industry:</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100" b="0" i="0" u="none" strike="noStrike" dirty="0">
                          <a:solidFill>
                            <a:srgbClr val="000000"/>
                          </a:solidFill>
                          <a:latin typeface="+mn-lt"/>
                        </a:rPr>
                        <a:t>OSC provides few OOB values if required we can create custom values too</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508844">
                <a:tc>
                  <a:txBody>
                    <a:bodyPr/>
                    <a:lstStyle/>
                    <a:p>
                      <a:pPr algn="l" fontAlgn="t"/>
                      <a:r>
                        <a:rPr lang="en-US" sz="1100" b="0" i="0" u="none" strike="noStrike">
                          <a:solidFill>
                            <a:srgbClr val="000000"/>
                          </a:solidFill>
                          <a:latin typeface="+mn-lt"/>
                        </a:rPr>
                        <a:t>3. Customer Size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100" b="0" i="0" u="none" strike="noStrike" dirty="0">
                          <a:solidFill>
                            <a:srgbClr val="000000"/>
                          </a:solidFill>
                          <a:latin typeface="+mn-lt"/>
                        </a:rPr>
                        <a:t>The list of customer sizes is maintained in the Organization Size </a:t>
                      </a:r>
                      <a:r>
                        <a:rPr lang="en-US" sz="1100" b="0" i="0" u="none" strike="noStrike" dirty="0" err="1">
                          <a:solidFill>
                            <a:srgbClr val="000000"/>
                          </a:solidFill>
                          <a:latin typeface="+mn-lt"/>
                        </a:rPr>
                        <a:t>lookup.it</a:t>
                      </a:r>
                      <a:r>
                        <a:rPr lang="en-US" sz="1100" b="0" i="0" u="none" strike="noStrike" dirty="0">
                          <a:solidFill>
                            <a:srgbClr val="000000"/>
                          </a:solidFill>
                          <a:latin typeface="+mn-lt"/>
                        </a:rPr>
                        <a:t> have values like (</a:t>
                      </a:r>
                      <a:r>
                        <a:rPr lang="en-US" sz="1100" b="0" i="0" u="none" strike="noStrike" dirty="0" err="1">
                          <a:solidFill>
                            <a:srgbClr val="000000"/>
                          </a:solidFill>
                          <a:latin typeface="+mn-lt"/>
                        </a:rPr>
                        <a:t>Large,Medium,Small</a:t>
                      </a:r>
                      <a:r>
                        <a:rPr lang="en-US" sz="1100" b="0" i="0" u="none" strike="noStrike" dirty="0">
                          <a:solidFill>
                            <a:srgbClr val="000000"/>
                          </a:solidFill>
                          <a:latin typeface="+mn-lt"/>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508844">
                <a:tc>
                  <a:txBody>
                    <a:bodyPr/>
                    <a:lstStyle/>
                    <a:p>
                      <a:pPr algn="l" fontAlgn="t"/>
                      <a:r>
                        <a:rPr lang="en-US" sz="1100" b="0" i="0" u="none" strike="noStrike">
                          <a:solidFill>
                            <a:srgbClr val="000000"/>
                          </a:solidFill>
                          <a:latin typeface="+mn-lt"/>
                        </a:rPr>
                        <a:t>4.Organization Type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100" b="0" i="0" u="none" strike="noStrike" dirty="0">
                          <a:solidFill>
                            <a:srgbClr val="000000"/>
                          </a:solidFill>
                          <a:latin typeface="+mn-lt"/>
                        </a:rPr>
                        <a:t>The organization type hierarchy, mapped to the Organization Type classification category in which below values are added</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508844">
                <a:tc>
                  <a:txBody>
                    <a:bodyPr/>
                    <a:lstStyle/>
                    <a:p>
                      <a:pPr algn="l" fontAlgn="t"/>
                      <a:r>
                        <a:rPr lang="fr-FR" sz="1100" b="0" i="0" u="none" strike="noStrike">
                          <a:solidFill>
                            <a:srgbClr val="000000"/>
                          </a:solidFill>
                          <a:latin typeface="+mn-lt"/>
                        </a:rPr>
                        <a:t>Auxiliary Dimensions 1, 2, 3</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100" b="0" i="0" u="none" strike="noStrike" dirty="0">
                          <a:solidFill>
                            <a:srgbClr val="000000"/>
                          </a:solidFill>
                          <a:latin typeface="+mn-lt"/>
                        </a:rPr>
                        <a:t>These are three dimension which can be used on Account for Territory Assignment.</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54422">
                <a:tc gridSpan="2">
                  <a:txBody>
                    <a:bodyPr/>
                    <a:lstStyle/>
                    <a:p>
                      <a:pPr algn="ctr" fontAlgn="t"/>
                      <a:r>
                        <a:rPr lang="en-US" sz="1100" b="1" i="0" u="none" strike="noStrike" dirty="0">
                          <a:solidFill>
                            <a:srgbClr val="000000"/>
                          </a:solidFill>
                          <a:latin typeface="+mn-lt"/>
                        </a:rPr>
                        <a:t>Below Dimension are Applicable on Opportunity &amp; Leads</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hMerge="1">
                  <a:txBody>
                    <a:bodyPr/>
                    <a:lstStyle/>
                    <a:p>
                      <a:endParaRPr lang="en-US"/>
                    </a:p>
                  </a:txBody>
                  <a:tcPr/>
                </a:tc>
              </a:tr>
              <a:tr h="508844">
                <a:tc>
                  <a:txBody>
                    <a:bodyPr/>
                    <a:lstStyle/>
                    <a:p>
                      <a:pPr algn="l" fontAlgn="t"/>
                      <a:r>
                        <a:rPr lang="en-US" sz="1100" b="0" i="0" u="none" strike="noStrike">
                          <a:solidFill>
                            <a:srgbClr val="000000"/>
                          </a:solidFill>
                          <a:latin typeface="+mn-lt"/>
                        </a:rPr>
                        <a:t>5. Produc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100" b="0" i="0" u="none" strike="noStrike" dirty="0">
                          <a:solidFill>
                            <a:srgbClr val="000000"/>
                          </a:solidFill>
                          <a:latin typeface="+mn-lt"/>
                        </a:rPr>
                        <a:t>The product hierarchy is maintained using Oracle Fusion Sales Catalog. For these we would need to create the Products in OSC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54422">
                <a:tc>
                  <a:txBody>
                    <a:bodyPr/>
                    <a:lstStyle/>
                    <a:p>
                      <a:pPr algn="l" fontAlgn="t"/>
                      <a:r>
                        <a:rPr lang="en-US" sz="1100" b="0" i="0" u="none" strike="noStrike">
                          <a:solidFill>
                            <a:srgbClr val="000000"/>
                          </a:solidFill>
                          <a:latin typeface="+mn-lt"/>
                        </a:rPr>
                        <a:t>6.Sales Channel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100" b="0" i="0" u="none" strike="noStrike" dirty="0">
                          <a:solidFill>
                            <a:srgbClr val="000000"/>
                          </a:solidFill>
                          <a:latin typeface="+mn-lt"/>
                        </a:rPr>
                        <a:t>sales channels offers three values Direct, Indirect and Partner</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54422">
                <a:tc>
                  <a:txBody>
                    <a:bodyPr/>
                    <a:lstStyle/>
                    <a:p>
                      <a:pPr algn="l" fontAlgn="t"/>
                      <a:r>
                        <a:rPr lang="en-US" sz="1100" b="0" i="0" u="none" strike="noStrike" dirty="0">
                          <a:solidFill>
                            <a:srgbClr val="000000"/>
                          </a:solidFill>
                          <a:latin typeface="+mn-lt"/>
                        </a:rPr>
                        <a:t>7. Business Unit</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100" b="0" i="0" u="none" strike="noStrike" dirty="0">
                          <a:solidFill>
                            <a:srgbClr val="000000"/>
                          </a:solidFill>
                          <a:latin typeface="+mn-lt"/>
                        </a:rPr>
                        <a:t>This will have values from Manage Business unit task</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763266">
                <a:tc>
                  <a:txBody>
                    <a:bodyPr/>
                    <a:lstStyle/>
                    <a:p>
                      <a:pPr algn="l" fontAlgn="t"/>
                      <a:r>
                        <a:rPr lang="en-US" sz="1100" b="0" i="0" u="none" strike="noStrike" kern="1200">
                          <a:solidFill>
                            <a:srgbClr val="000000"/>
                          </a:solidFill>
                          <a:latin typeface="+mn-lt"/>
                          <a:ea typeface="+mn-ea"/>
                          <a:cs typeface="+mn-cs"/>
                        </a:rPr>
                        <a:t>Line of Business</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D9C3"/>
                    </a:solidFill>
                  </a:tcPr>
                </a:tc>
                <a:tc>
                  <a:txBody>
                    <a:bodyPr/>
                    <a:lstStyle/>
                    <a:p>
                      <a:pPr algn="l" fontAlgn="t"/>
                      <a:r>
                        <a:rPr lang="en-US" sz="1100" b="0" i="0" u="none" strike="noStrike" kern="1200" dirty="0">
                          <a:solidFill>
                            <a:srgbClr val="000000"/>
                          </a:solidFill>
                          <a:latin typeface="+mn-lt"/>
                          <a:ea typeface="+mn-ea"/>
                          <a:cs typeface="+mn-cs"/>
                        </a:rPr>
                        <a:t>This is not a dimension but it is a field on Territory edit page. We can use this field to define the territory assignment rules for opportunity &amp; Lead. It will only be used for OOB fields &amp; not supported on Custom fields</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D9C3"/>
                    </a:solidFill>
                  </a:tcPr>
                </a:tc>
              </a:tr>
            </a:tbl>
          </a:graphicData>
        </a:graphic>
      </p:graphicFrame>
    </p:spTree>
    <p:extLst>
      <p:ext uri="{BB962C8B-B14F-4D97-AF65-F5344CB8AC3E}">
        <p14:creationId xmlns="" xmlns:p14="http://schemas.microsoft.com/office/powerpoint/2010/main" val="2930210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	POCs &amp; Artifacts</a:t>
            </a:r>
            <a:endParaRPr lang="en-US" dirty="0"/>
          </a:p>
        </p:txBody>
      </p:sp>
      <p:sp>
        <p:nvSpPr>
          <p:cNvPr id="11" name="TextBox 10"/>
          <p:cNvSpPr txBox="1"/>
          <p:nvPr/>
        </p:nvSpPr>
        <p:spPr>
          <a:xfrm>
            <a:off x="640080" y="1110343"/>
            <a:ext cx="7824651" cy="5578450"/>
          </a:xfrm>
          <a:prstGeom prst="rect">
            <a:avLst/>
          </a:prstGeom>
          <a:noFill/>
        </p:spPr>
        <p:txBody>
          <a:bodyPr wrap="square" rtlCol="0">
            <a:spAutoFit/>
          </a:bodyPr>
          <a:lstStyle/>
          <a:p>
            <a:pPr marL="342900" lvl="0" indent="-342900">
              <a:buAutoNum type="arabicParenR"/>
            </a:pPr>
            <a:r>
              <a:rPr lang="en-US" sz="1400" dirty="0" smtClean="0"/>
              <a:t>Add PSE’s on an Account Team when a AE member is manually added on Account Team</a:t>
            </a:r>
          </a:p>
          <a:p>
            <a:r>
              <a:rPr lang="en-US" sz="1400" dirty="0" smtClean="0"/>
              <a:t>Done a POC using groovy script to see if we can add the PSE’s reporting to an AE whenever an AE is manually added on Account Team</a:t>
            </a:r>
          </a:p>
          <a:p>
            <a:r>
              <a:rPr lang="en-US" sz="1400" dirty="0" smtClean="0"/>
              <a:t>Artifact Link: </a:t>
            </a:r>
            <a:r>
              <a:rPr lang="en-US" sz="1400" dirty="0" smtClean="0">
                <a:hlinkClick r:id="rId2"/>
              </a:rPr>
              <a:t>https://coconet.capgemini.com/sf/go/doc10116037?nav=1</a:t>
            </a:r>
            <a:endParaRPr lang="en-US" sz="1400" dirty="0" smtClean="0"/>
          </a:p>
          <a:p>
            <a:endParaRPr lang="en-US" sz="1400" dirty="0" smtClean="0"/>
          </a:p>
          <a:p>
            <a:r>
              <a:rPr lang="en-US" sz="1400" dirty="0" smtClean="0"/>
              <a:t>2) Geography Import</a:t>
            </a:r>
          </a:p>
          <a:p>
            <a:r>
              <a:rPr lang="en-US" sz="1400" dirty="0" smtClean="0"/>
              <a:t>Explored the OOB geography import mechanism. Prepared the mapping sheet for Geography Import &amp; Geography structure import.</a:t>
            </a:r>
          </a:p>
          <a:p>
            <a:r>
              <a:rPr lang="en-US" sz="1400" dirty="0" smtClean="0"/>
              <a:t>Artifact Link: </a:t>
            </a:r>
            <a:r>
              <a:rPr lang="en-US" sz="1400" dirty="0" smtClean="0">
                <a:hlinkClick r:id="rId3"/>
              </a:rPr>
              <a:t>https://coconet.capgemini.com/sf/go/doc9937850?nav=1</a:t>
            </a:r>
            <a:endParaRPr lang="en-US" sz="1400" dirty="0" smtClean="0"/>
          </a:p>
          <a:p>
            <a:endParaRPr lang="en-US" sz="1400" dirty="0" smtClean="0"/>
          </a:p>
          <a:p>
            <a:r>
              <a:rPr lang="en-US" sz="1400" dirty="0" smtClean="0"/>
              <a:t>3) Assignment Rules based on Custom Field</a:t>
            </a:r>
          </a:p>
          <a:p>
            <a:pPr lvl="0"/>
            <a:r>
              <a:rPr lang="en-US" sz="1400" dirty="0" smtClean="0"/>
              <a:t>Validated the Sales Team Assignment logic using Assignment Rules on Leads/Opportunity based on the custom fields like Lead type &amp; opportunity type.</a:t>
            </a:r>
          </a:p>
          <a:p>
            <a:pPr lvl="0"/>
            <a:r>
              <a:rPr lang="en-US" sz="1400" dirty="0" smtClean="0"/>
              <a:t>Artifact Link: </a:t>
            </a:r>
            <a:r>
              <a:rPr lang="en-US" sz="1400" dirty="0" smtClean="0">
                <a:hlinkClick r:id="rId4"/>
              </a:rPr>
              <a:t>https://coconet.capgemini.com/sf/go/doc10115937?nav=1</a:t>
            </a:r>
            <a:endParaRPr lang="en-US" sz="1400" dirty="0" smtClean="0"/>
          </a:p>
          <a:p>
            <a:endParaRPr lang="en-US" sz="1400" dirty="0" smtClean="0"/>
          </a:p>
          <a:p>
            <a:r>
              <a:rPr lang="en-US" sz="1400" dirty="0" smtClean="0"/>
              <a:t>4) Replace the Account Owner with field value with Territory Owner on Run Assignment</a:t>
            </a:r>
          </a:p>
          <a:p>
            <a:r>
              <a:rPr lang="en-US" sz="1400" dirty="0" smtClean="0"/>
              <a:t>This POC provides an example of Groovy script if you want the Owner field on an account to display the account territory owner. Refer Oracle Doc ID 2059311.1 for details</a:t>
            </a:r>
          </a:p>
          <a:p>
            <a:r>
              <a:rPr lang="en-US" sz="1400" dirty="0" smtClean="0"/>
              <a:t>Artifact Link: </a:t>
            </a:r>
            <a:r>
              <a:rPr lang="en-US" sz="1400" dirty="0" smtClean="0">
                <a:hlinkClick r:id="rId5"/>
              </a:rPr>
              <a:t>https://coconet.capgemini.com/sf/go/doc10115784?nav=1</a:t>
            </a:r>
            <a:endParaRPr lang="en-US" sz="1400" dirty="0" smtClean="0"/>
          </a:p>
          <a:p>
            <a:endParaRPr lang="en-US" sz="1050" dirty="0" smtClean="0"/>
          </a:p>
          <a:p>
            <a:pPr lvl="0"/>
            <a:endParaRPr lang="en-US" sz="1400" dirty="0" smtClean="0"/>
          </a:p>
          <a:p>
            <a:pPr lvl="0"/>
            <a:endParaRPr lang="en-US" dirty="0" smtClean="0"/>
          </a:p>
          <a:p>
            <a:pPr lvl="0"/>
            <a:endParaRPr lang="en-US" dirty="0" smtClean="0"/>
          </a:p>
          <a:p>
            <a:endParaRPr lang="en-US" dirty="0" smtClean="0"/>
          </a:p>
          <a:p>
            <a:pPr>
              <a:spcAft>
                <a:spcPts val="600"/>
              </a:spcAft>
            </a:pPr>
            <a:endParaRPr lang="en-US" sz="1200" dirty="0" smtClean="0">
              <a:latin typeface="Arial" pitchFamily="34" charset="0"/>
              <a:cs typeface="Arial" pitchFamily="34" charset="0"/>
            </a:endParaRPr>
          </a:p>
        </p:txBody>
      </p:sp>
    </p:spTree>
    <p:extLst>
      <p:ext uri="{BB962C8B-B14F-4D97-AF65-F5344CB8AC3E}">
        <p14:creationId xmlns="" xmlns:p14="http://schemas.microsoft.com/office/powerpoint/2010/main" val="2930210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	POCs &amp; Artifacts…</a:t>
            </a:r>
            <a:endParaRPr lang="en-US" dirty="0"/>
          </a:p>
        </p:txBody>
      </p:sp>
      <p:sp>
        <p:nvSpPr>
          <p:cNvPr id="11" name="TextBox 10"/>
          <p:cNvSpPr txBox="1"/>
          <p:nvPr/>
        </p:nvSpPr>
        <p:spPr>
          <a:xfrm>
            <a:off x="640080" y="1110343"/>
            <a:ext cx="7824651" cy="3662541"/>
          </a:xfrm>
          <a:prstGeom prst="rect">
            <a:avLst/>
          </a:prstGeom>
          <a:noFill/>
        </p:spPr>
        <p:txBody>
          <a:bodyPr wrap="square" rtlCol="0">
            <a:spAutoFit/>
          </a:bodyPr>
          <a:lstStyle/>
          <a:p>
            <a:r>
              <a:rPr lang="en-US" sz="1400" dirty="0" smtClean="0"/>
              <a:t>5) POC to show Territory &amp; Territory Team in a Sub tab under Accounts</a:t>
            </a:r>
          </a:p>
          <a:p>
            <a:r>
              <a:rPr lang="en-US" sz="1400" dirty="0" smtClean="0"/>
              <a:t>We have done a POC to show Territory &amp; Territory Team in a Sub tab under Accounts. This sub tab is designed using Analytics concept where we have embedded the report in the tab. We have created a report which will fetch territory &amp; Territory team details &amp; the result of this report will be constrained based on the Account Id to display only those territories which are linked to the Account. </a:t>
            </a:r>
          </a:p>
          <a:p>
            <a:r>
              <a:rPr lang="en-US" sz="1400" dirty="0" smtClean="0"/>
              <a:t>Artifact Link: </a:t>
            </a:r>
            <a:r>
              <a:rPr lang="en-US" sz="1400" dirty="0" smtClean="0">
                <a:hlinkClick r:id="rId2"/>
              </a:rPr>
              <a:t>How To Embed a Report in the Sub Tab and Filter Based On Current Account? (Doc ID 2012990.1)</a:t>
            </a:r>
            <a:endParaRPr lang="en-US" sz="1400" dirty="0" smtClean="0"/>
          </a:p>
          <a:p>
            <a:endParaRPr lang="en-US" sz="1400" dirty="0" smtClean="0"/>
          </a:p>
          <a:p>
            <a:r>
              <a:rPr lang="en-US" sz="1400" dirty="0" smtClean="0"/>
              <a:t>6) POC to check Included &amp; Excluded Customers Territories</a:t>
            </a:r>
          </a:p>
          <a:p>
            <a:pPr lvl="0"/>
            <a:r>
              <a:rPr lang="en-US" sz="1400" dirty="0" smtClean="0"/>
              <a:t>Business have a requirement to exclude few accounts from territory assignment irrespective of the territory dimensions. We have explored the included/ Excluded customer account feature under this POC to see verify that we can meet the business requirement</a:t>
            </a:r>
          </a:p>
          <a:p>
            <a:pPr lvl="0"/>
            <a:r>
              <a:rPr lang="en-US" sz="1400" dirty="0" smtClean="0"/>
              <a:t> </a:t>
            </a:r>
          </a:p>
          <a:p>
            <a:pPr lvl="0"/>
            <a:r>
              <a:rPr lang="en-US" sz="1400" dirty="0" smtClean="0"/>
              <a:t>7) Explore the option to Import territories with Included &amp; Excluded Customers Territory</a:t>
            </a:r>
          </a:p>
          <a:p>
            <a:pPr lvl="0"/>
            <a:r>
              <a:rPr lang="en-US" sz="1400" dirty="0" smtClean="0"/>
              <a:t>Done a POC to see how to import territories with Included &amp; Excluded customer features.</a:t>
            </a:r>
          </a:p>
        </p:txBody>
      </p:sp>
    </p:spTree>
    <p:extLst>
      <p:ext uri="{BB962C8B-B14F-4D97-AF65-F5344CB8AC3E}">
        <p14:creationId xmlns="" xmlns:p14="http://schemas.microsoft.com/office/powerpoint/2010/main" val="2930210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SRs , </a:t>
            </a:r>
            <a:r>
              <a:rPr lang="en-US" dirty="0" smtClean="0"/>
              <a:t>ERs</a:t>
            </a:r>
            <a:endParaRPr lang="en-US" dirty="0"/>
          </a:p>
        </p:txBody>
      </p:sp>
      <p:graphicFrame>
        <p:nvGraphicFramePr>
          <p:cNvPr id="5" name="Table 4"/>
          <p:cNvGraphicFramePr>
            <a:graphicFrameLocks noGrp="1"/>
          </p:cNvGraphicFramePr>
          <p:nvPr/>
        </p:nvGraphicFramePr>
        <p:xfrm>
          <a:off x="745410" y="1277489"/>
          <a:ext cx="7667070" cy="3660272"/>
        </p:xfrm>
        <a:graphic>
          <a:graphicData uri="http://schemas.openxmlformats.org/drawingml/2006/table">
            <a:tbl>
              <a:tblPr/>
              <a:tblGrid>
                <a:gridCol w="1416877"/>
                <a:gridCol w="3582297"/>
                <a:gridCol w="1226371"/>
                <a:gridCol w="1441525"/>
              </a:tblGrid>
              <a:tr h="247243">
                <a:tc>
                  <a:txBody>
                    <a:bodyPr/>
                    <a:lstStyle/>
                    <a:p>
                      <a:pPr algn="l" rtl="0" fontAlgn="t"/>
                      <a:r>
                        <a:rPr lang="en-US" sz="1200" b="1" i="0" u="none" strike="noStrike" dirty="0">
                          <a:solidFill>
                            <a:srgbClr val="FFFFFF"/>
                          </a:solidFill>
                          <a:latin typeface="+mn-lt"/>
                        </a:rPr>
                        <a:t>SR # </a:t>
                      </a:r>
                    </a:p>
                  </a:txBody>
                  <a:tcPr marL="6980" marR="6980" marT="6980" marB="0">
                    <a:lnL w="12700" cap="flat" cmpd="sng" algn="ctr">
                      <a:solidFill>
                        <a:srgbClr val="5F5F5F"/>
                      </a:solidFill>
                      <a:prstDash val="solid"/>
                      <a:round/>
                      <a:headEnd type="none" w="med" len="med"/>
                      <a:tailEnd type="none" w="med" len="med"/>
                    </a:lnL>
                    <a:lnR>
                      <a:noFill/>
                    </a:lnR>
                    <a:lnT w="12700" cap="flat" cmpd="sng" algn="ctr">
                      <a:solidFill>
                        <a:srgbClr val="5F5F5F"/>
                      </a:solidFill>
                      <a:prstDash val="solid"/>
                      <a:round/>
                      <a:headEnd type="none" w="med" len="med"/>
                      <a:tailEnd type="none" w="med" len="med"/>
                    </a:lnT>
                    <a:lnB w="12700" cap="flat" cmpd="sng" algn="ctr">
                      <a:solidFill>
                        <a:srgbClr val="5F5F5F"/>
                      </a:solidFill>
                      <a:prstDash val="solid"/>
                      <a:round/>
                      <a:headEnd type="none" w="med" len="med"/>
                      <a:tailEnd type="none" w="med" len="med"/>
                    </a:lnB>
                    <a:solidFill>
                      <a:srgbClr val="5F5F5F"/>
                    </a:solidFill>
                  </a:tcPr>
                </a:tc>
                <a:tc>
                  <a:txBody>
                    <a:bodyPr/>
                    <a:lstStyle/>
                    <a:p>
                      <a:pPr algn="l" rtl="0" fontAlgn="t"/>
                      <a:r>
                        <a:rPr lang="en-US" sz="1200" b="1" i="0" u="none" strike="noStrike" dirty="0">
                          <a:solidFill>
                            <a:srgbClr val="FFFFFF"/>
                          </a:solidFill>
                          <a:latin typeface="+mn-lt"/>
                        </a:rPr>
                        <a:t>Title </a:t>
                      </a:r>
                    </a:p>
                  </a:txBody>
                  <a:tcPr marL="6980" marR="6980" marT="6980" marB="0">
                    <a:lnL>
                      <a:noFill/>
                    </a:lnL>
                    <a:lnR>
                      <a:noFill/>
                    </a:lnR>
                    <a:lnT w="12700" cap="flat" cmpd="sng" algn="ctr">
                      <a:solidFill>
                        <a:srgbClr val="5F5F5F"/>
                      </a:solidFill>
                      <a:prstDash val="solid"/>
                      <a:round/>
                      <a:headEnd type="none" w="med" len="med"/>
                      <a:tailEnd type="none" w="med" len="med"/>
                    </a:lnT>
                    <a:lnB w="12700" cap="flat" cmpd="sng" algn="ctr">
                      <a:solidFill>
                        <a:srgbClr val="5F5F5F"/>
                      </a:solidFill>
                      <a:prstDash val="solid"/>
                      <a:round/>
                      <a:headEnd type="none" w="med" len="med"/>
                      <a:tailEnd type="none" w="med" len="med"/>
                    </a:lnB>
                    <a:solidFill>
                      <a:srgbClr val="5F5F5F"/>
                    </a:solidFill>
                  </a:tcPr>
                </a:tc>
                <a:tc>
                  <a:txBody>
                    <a:bodyPr/>
                    <a:lstStyle/>
                    <a:p>
                      <a:pPr algn="l" rtl="0" fontAlgn="t"/>
                      <a:r>
                        <a:rPr lang="en-US" sz="1200" b="1" i="0" u="none" strike="noStrike" dirty="0">
                          <a:solidFill>
                            <a:srgbClr val="FFFFFF"/>
                          </a:solidFill>
                          <a:latin typeface="+mn-lt"/>
                        </a:rPr>
                        <a:t>ER #</a:t>
                      </a:r>
                    </a:p>
                  </a:txBody>
                  <a:tcPr marL="6980" marR="6980" marT="6980" marB="0">
                    <a:lnL>
                      <a:noFill/>
                    </a:lnL>
                    <a:lnR>
                      <a:noFill/>
                    </a:lnR>
                    <a:lnT w="12700" cap="flat" cmpd="sng" algn="ctr">
                      <a:solidFill>
                        <a:srgbClr val="5F5F5F"/>
                      </a:solidFill>
                      <a:prstDash val="solid"/>
                      <a:round/>
                      <a:headEnd type="none" w="med" len="med"/>
                      <a:tailEnd type="none" w="med" len="med"/>
                    </a:lnT>
                    <a:lnB w="12700" cap="flat" cmpd="sng" algn="ctr">
                      <a:solidFill>
                        <a:srgbClr val="5F5F5F"/>
                      </a:solidFill>
                      <a:prstDash val="solid"/>
                      <a:round/>
                      <a:headEnd type="none" w="med" len="med"/>
                      <a:tailEnd type="none" w="med" len="med"/>
                    </a:lnB>
                    <a:solidFill>
                      <a:srgbClr val="5F5F5F"/>
                    </a:solidFill>
                  </a:tcPr>
                </a:tc>
                <a:tc>
                  <a:txBody>
                    <a:bodyPr/>
                    <a:lstStyle/>
                    <a:p>
                      <a:pPr algn="l" rtl="0" fontAlgn="t"/>
                      <a:r>
                        <a:rPr lang="en-US" sz="1200" b="1" i="0" u="none" strike="noStrike" dirty="0">
                          <a:solidFill>
                            <a:srgbClr val="FFFFFF"/>
                          </a:solidFill>
                          <a:latin typeface="+mn-lt"/>
                        </a:rPr>
                        <a:t>Release Target </a:t>
                      </a:r>
                    </a:p>
                  </a:txBody>
                  <a:tcPr marL="6980" marR="6980" marT="6980" marB="0">
                    <a:lnL>
                      <a:noFill/>
                    </a:lnL>
                    <a:lnR w="12700" cap="flat" cmpd="sng" algn="ctr">
                      <a:solidFill>
                        <a:srgbClr val="5F5F5F"/>
                      </a:solidFill>
                      <a:prstDash val="solid"/>
                      <a:round/>
                      <a:headEnd type="none" w="med" len="med"/>
                      <a:tailEnd type="none" w="med" len="med"/>
                    </a:lnR>
                    <a:lnT w="12700" cap="flat" cmpd="sng" algn="ctr">
                      <a:solidFill>
                        <a:srgbClr val="5F5F5F"/>
                      </a:solidFill>
                      <a:prstDash val="solid"/>
                      <a:round/>
                      <a:headEnd type="none" w="med" len="med"/>
                      <a:tailEnd type="none" w="med" len="med"/>
                    </a:lnT>
                    <a:lnB w="12700" cap="flat" cmpd="sng" algn="ctr">
                      <a:solidFill>
                        <a:srgbClr val="5F5F5F"/>
                      </a:solidFill>
                      <a:prstDash val="solid"/>
                      <a:round/>
                      <a:headEnd type="none" w="med" len="med"/>
                      <a:tailEnd type="none" w="med" len="med"/>
                    </a:lnB>
                    <a:solidFill>
                      <a:srgbClr val="5F5F5F"/>
                    </a:solidFill>
                  </a:tcPr>
                </a:tc>
              </a:tr>
              <a:tr h="484977">
                <a:tc>
                  <a:txBody>
                    <a:bodyPr/>
                    <a:lstStyle/>
                    <a:p>
                      <a:pPr algn="l" rtl="0" fontAlgn="t"/>
                      <a:r>
                        <a:rPr lang="en-US" sz="1200" b="0" i="0" u="none" strike="noStrike" dirty="0">
                          <a:solidFill>
                            <a:srgbClr val="5F5F5F"/>
                          </a:solidFill>
                          <a:latin typeface="+mn-lt"/>
                        </a:rPr>
                        <a:t>3-13258757151 </a:t>
                      </a:r>
                    </a:p>
                  </a:txBody>
                  <a:tcPr marL="6980" marR="6980" marT="6980" marB="0">
                    <a:lnL w="12700" cap="flat" cmpd="sng" algn="ctr">
                      <a:solidFill>
                        <a:srgbClr val="5F5F5F"/>
                      </a:solidFill>
                      <a:prstDash val="solid"/>
                      <a:round/>
                      <a:headEnd type="none" w="med" len="med"/>
                      <a:tailEnd type="none" w="med" len="med"/>
                    </a:lnL>
                    <a:lnR>
                      <a:noFill/>
                    </a:lnR>
                    <a:lnT w="12700" cap="flat" cmpd="sng" algn="ctr">
                      <a:solidFill>
                        <a:srgbClr val="5F5F5F"/>
                      </a:solidFill>
                      <a:prstDash val="solid"/>
                      <a:round/>
                      <a:headEnd type="none" w="med" len="med"/>
                      <a:tailEnd type="none" w="med" len="med"/>
                    </a:lnT>
                    <a:lnB w="12700" cap="flat" cmpd="sng" algn="ctr">
                      <a:solidFill>
                        <a:srgbClr val="5F5F5F"/>
                      </a:solidFill>
                      <a:prstDash val="solid"/>
                      <a:round/>
                      <a:headEnd type="none" w="med" len="med"/>
                      <a:tailEnd type="none" w="med" len="med"/>
                    </a:lnB>
                    <a:solidFill>
                      <a:srgbClr val="EAEAEA"/>
                    </a:solidFill>
                  </a:tcPr>
                </a:tc>
                <a:tc>
                  <a:txBody>
                    <a:bodyPr/>
                    <a:lstStyle/>
                    <a:p>
                      <a:pPr algn="l" rtl="0" fontAlgn="t"/>
                      <a:r>
                        <a:rPr lang="en-US" sz="1200" b="0" i="0" u="none" strike="noStrike" dirty="0">
                          <a:solidFill>
                            <a:srgbClr val="5F5F5F"/>
                          </a:solidFill>
                          <a:latin typeface="+mn-lt"/>
                        </a:rPr>
                        <a:t>Automate Lead Assignment on Edit &amp; Create and Save </a:t>
                      </a:r>
                    </a:p>
                  </a:txBody>
                  <a:tcPr marL="6980" marR="6980" marT="6980" marB="0">
                    <a:lnL>
                      <a:noFill/>
                    </a:lnL>
                    <a:lnR>
                      <a:noFill/>
                    </a:lnR>
                    <a:lnT w="12700" cap="flat" cmpd="sng" algn="ctr">
                      <a:solidFill>
                        <a:srgbClr val="5F5F5F"/>
                      </a:solidFill>
                      <a:prstDash val="solid"/>
                      <a:round/>
                      <a:headEnd type="none" w="med" len="med"/>
                      <a:tailEnd type="none" w="med" len="med"/>
                    </a:lnT>
                    <a:lnB w="12700" cap="flat" cmpd="sng" algn="ctr">
                      <a:solidFill>
                        <a:srgbClr val="5F5F5F"/>
                      </a:solidFill>
                      <a:prstDash val="solid"/>
                      <a:round/>
                      <a:headEnd type="none" w="med" len="med"/>
                      <a:tailEnd type="none" w="med" len="med"/>
                    </a:lnB>
                    <a:solidFill>
                      <a:srgbClr val="EAEAEA"/>
                    </a:solidFill>
                  </a:tcPr>
                </a:tc>
                <a:tc>
                  <a:txBody>
                    <a:bodyPr/>
                    <a:lstStyle/>
                    <a:p>
                      <a:pPr algn="l" rtl="0" fontAlgn="t"/>
                      <a:r>
                        <a:rPr lang="en-US" sz="1200" b="0" i="0" u="none" strike="noStrike" dirty="0">
                          <a:solidFill>
                            <a:srgbClr val="5F5F5F"/>
                          </a:solidFill>
                          <a:latin typeface="+mn-lt"/>
                        </a:rPr>
                        <a:t> </a:t>
                      </a:r>
                      <a:r>
                        <a:rPr lang="en-US" sz="1200" b="0" i="0" u="none" strike="noStrike" dirty="0" smtClean="0">
                          <a:solidFill>
                            <a:srgbClr val="5F5F5F"/>
                          </a:solidFill>
                          <a:latin typeface="+mn-lt"/>
                        </a:rPr>
                        <a:t>ER #  24574105</a:t>
                      </a:r>
                      <a:endParaRPr lang="en-US" sz="1200" b="0" i="0" u="none" strike="noStrike" dirty="0">
                        <a:solidFill>
                          <a:srgbClr val="5F5F5F"/>
                        </a:solidFill>
                        <a:latin typeface="+mn-lt"/>
                      </a:endParaRPr>
                    </a:p>
                  </a:txBody>
                  <a:tcPr marL="6980" marR="6980" marT="6980" marB="0">
                    <a:lnL>
                      <a:noFill/>
                    </a:lnL>
                    <a:lnR>
                      <a:noFill/>
                    </a:lnR>
                    <a:lnT w="12700" cap="flat" cmpd="sng" algn="ctr">
                      <a:solidFill>
                        <a:srgbClr val="5F5F5F"/>
                      </a:solidFill>
                      <a:prstDash val="solid"/>
                      <a:round/>
                      <a:headEnd type="none" w="med" len="med"/>
                      <a:tailEnd type="none" w="med" len="med"/>
                    </a:lnT>
                    <a:lnB w="12700" cap="flat" cmpd="sng" algn="ctr">
                      <a:solidFill>
                        <a:srgbClr val="5F5F5F"/>
                      </a:solidFill>
                      <a:prstDash val="solid"/>
                      <a:round/>
                      <a:headEnd type="none" w="med" len="med"/>
                      <a:tailEnd type="none" w="med" len="med"/>
                    </a:lnB>
                    <a:solidFill>
                      <a:srgbClr val="EAEAEA"/>
                    </a:solidFill>
                  </a:tcPr>
                </a:tc>
                <a:tc>
                  <a:txBody>
                    <a:bodyPr/>
                    <a:lstStyle/>
                    <a:p>
                      <a:pPr algn="l" rtl="0" fontAlgn="t"/>
                      <a:r>
                        <a:rPr lang="en-US" sz="1200" b="0" i="0" u="none" strike="noStrike">
                          <a:solidFill>
                            <a:srgbClr val="5F5F5F"/>
                          </a:solidFill>
                          <a:latin typeface="+mn-lt"/>
                        </a:rPr>
                        <a:t>pending </a:t>
                      </a:r>
                    </a:p>
                  </a:txBody>
                  <a:tcPr marL="6980" marR="6980" marT="6980" marB="0">
                    <a:lnL>
                      <a:noFill/>
                    </a:lnL>
                    <a:lnR w="12700" cap="flat" cmpd="sng" algn="ctr">
                      <a:solidFill>
                        <a:srgbClr val="5F5F5F"/>
                      </a:solidFill>
                      <a:prstDash val="solid"/>
                      <a:round/>
                      <a:headEnd type="none" w="med" len="med"/>
                      <a:tailEnd type="none" w="med" len="med"/>
                    </a:lnR>
                    <a:lnT w="12700" cap="flat" cmpd="sng" algn="ctr">
                      <a:solidFill>
                        <a:srgbClr val="5F5F5F"/>
                      </a:solidFill>
                      <a:prstDash val="solid"/>
                      <a:round/>
                      <a:headEnd type="none" w="med" len="med"/>
                      <a:tailEnd type="none" w="med" len="med"/>
                    </a:lnT>
                    <a:lnB w="12700" cap="flat" cmpd="sng" algn="ctr">
                      <a:solidFill>
                        <a:srgbClr val="5F5F5F"/>
                      </a:solidFill>
                      <a:prstDash val="solid"/>
                      <a:round/>
                      <a:headEnd type="none" w="med" len="med"/>
                      <a:tailEnd type="none" w="med" len="med"/>
                    </a:lnB>
                    <a:solidFill>
                      <a:srgbClr val="EAEAEA"/>
                    </a:solidFill>
                  </a:tcPr>
                </a:tc>
              </a:tr>
              <a:tr h="740901">
                <a:tc>
                  <a:txBody>
                    <a:bodyPr/>
                    <a:lstStyle/>
                    <a:p>
                      <a:pPr algn="l" rtl="0" fontAlgn="t"/>
                      <a:r>
                        <a:rPr lang="en-US" sz="1200" b="0" i="0" u="none" strike="noStrike" dirty="0">
                          <a:solidFill>
                            <a:srgbClr val="5F5F5F"/>
                          </a:solidFill>
                          <a:latin typeface="+mn-lt"/>
                        </a:rPr>
                        <a:t>3-13172285341 </a:t>
                      </a:r>
                    </a:p>
                  </a:txBody>
                  <a:tcPr marL="6980" marR="6980" marT="6980" marB="0">
                    <a:lnL w="12700" cap="flat" cmpd="sng" algn="ctr">
                      <a:solidFill>
                        <a:srgbClr val="5F5F5F"/>
                      </a:solidFill>
                      <a:prstDash val="solid"/>
                      <a:round/>
                      <a:headEnd type="none" w="med" len="med"/>
                      <a:tailEnd type="none" w="med" len="med"/>
                    </a:lnL>
                    <a:lnR>
                      <a:noFill/>
                    </a:lnR>
                    <a:lnT w="12700" cap="flat" cmpd="sng" algn="ctr">
                      <a:solidFill>
                        <a:srgbClr val="5F5F5F"/>
                      </a:solidFill>
                      <a:prstDash val="solid"/>
                      <a:round/>
                      <a:headEnd type="none" w="med" len="med"/>
                      <a:tailEnd type="none" w="med" len="med"/>
                    </a:lnT>
                    <a:lnB w="12700" cap="flat" cmpd="sng" algn="ctr">
                      <a:solidFill>
                        <a:srgbClr val="5F5F5F"/>
                      </a:solidFill>
                      <a:prstDash val="solid"/>
                      <a:round/>
                      <a:headEnd type="none" w="med" len="med"/>
                      <a:tailEnd type="none" w="med" len="med"/>
                    </a:lnB>
                  </a:tcPr>
                </a:tc>
                <a:tc>
                  <a:txBody>
                    <a:bodyPr/>
                    <a:lstStyle/>
                    <a:p>
                      <a:pPr algn="l" rtl="0" fontAlgn="t"/>
                      <a:r>
                        <a:rPr lang="en-US" sz="1200" b="0" i="0" u="none" strike="noStrike" dirty="0">
                          <a:solidFill>
                            <a:srgbClr val="5F5F5F"/>
                          </a:solidFill>
                          <a:latin typeface="+mn-lt"/>
                        </a:rPr>
                        <a:t>To have a Contact Team Assignment nightly process to keep contact and account sales teams in sync </a:t>
                      </a:r>
                    </a:p>
                  </a:txBody>
                  <a:tcPr marL="6980" marR="6980" marT="6980" marB="0">
                    <a:lnL>
                      <a:noFill/>
                    </a:lnL>
                    <a:lnR>
                      <a:noFill/>
                    </a:lnR>
                    <a:lnT w="12700" cap="flat" cmpd="sng" algn="ctr">
                      <a:solidFill>
                        <a:srgbClr val="5F5F5F"/>
                      </a:solidFill>
                      <a:prstDash val="solid"/>
                      <a:round/>
                      <a:headEnd type="none" w="med" len="med"/>
                      <a:tailEnd type="none" w="med" len="med"/>
                    </a:lnT>
                    <a:lnB w="12700" cap="flat" cmpd="sng" algn="ctr">
                      <a:solidFill>
                        <a:srgbClr val="5F5F5F"/>
                      </a:solidFill>
                      <a:prstDash val="solid"/>
                      <a:round/>
                      <a:headEnd type="none" w="med" len="med"/>
                      <a:tailEnd type="none" w="med" len="med"/>
                    </a:lnB>
                  </a:tcPr>
                </a:tc>
                <a:tc>
                  <a:txBody>
                    <a:bodyPr/>
                    <a:lstStyle/>
                    <a:p>
                      <a:pPr algn="l"/>
                      <a:r>
                        <a:rPr lang="en-US" sz="1200" dirty="0">
                          <a:latin typeface="+mn-lt"/>
                        </a:rPr>
                        <a:t/>
                      </a:r>
                      <a:br>
                        <a:rPr lang="en-US" sz="1200" dirty="0">
                          <a:latin typeface="+mn-lt"/>
                        </a:rPr>
                      </a:br>
                      <a:r>
                        <a:rPr lang="en-US" sz="1200" b="0" i="0" u="none" strike="noStrike" kern="1200" dirty="0" smtClean="0">
                          <a:solidFill>
                            <a:srgbClr val="5F5F5F"/>
                          </a:solidFill>
                          <a:latin typeface="+mn-lt"/>
                          <a:ea typeface="+mn-ea"/>
                          <a:cs typeface="+mn-cs"/>
                        </a:rPr>
                        <a:t>ER#</a:t>
                      </a:r>
                      <a:r>
                        <a:rPr lang="en-US" sz="1200" dirty="0" smtClean="0">
                          <a:latin typeface="+mn-lt"/>
                        </a:rPr>
                        <a:t> </a:t>
                      </a:r>
                      <a:r>
                        <a:rPr lang="en-US" sz="1200" b="0" i="0" u="none" strike="noStrike" kern="1200" dirty="0" smtClean="0">
                          <a:solidFill>
                            <a:srgbClr val="5F5F5F"/>
                          </a:solidFill>
                          <a:latin typeface="+mn-lt"/>
                          <a:ea typeface="+mn-ea"/>
                          <a:cs typeface="+mn-cs"/>
                        </a:rPr>
                        <a:t>24571857</a:t>
                      </a:r>
                    </a:p>
                  </a:txBody>
                  <a:tcPr marL="0" marR="0" marT="0" marB="0">
                    <a:lnL>
                      <a:noFill/>
                    </a:lnL>
                    <a:lnR>
                      <a:noFill/>
                    </a:lnR>
                    <a:lnT w="12700" cap="flat" cmpd="sng" algn="ctr">
                      <a:solidFill>
                        <a:srgbClr val="5F5F5F"/>
                      </a:solidFill>
                      <a:prstDash val="solid"/>
                      <a:round/>
                      <a:headEnd type="none" w="med" len="med"/>
                      <a:tailEnd type="none" w="med" len="med"/>
                    </a:lnT>
                    <a:lnB w="12700" cap="flat" cmpd="sng" algn="ctr">
                      <a:solidFill>
                        <a:srgbClr val="5F5F5F"/>
                      </a:solidFill>
                      <a:prstDash val="solid"/>
                      <a:round/>
                      <a:headEnd type="none" w="med" len="med"/>
                      <a:tailEnd type="none" w="med" len="med"/>
                    </a:lnB>
                  </a:tcPr>
                </a:tc>
                <a:tc>
                  <a:txBody>
                    <a:bodyPr/>
                    <a:lstStyle/>
                    <a:p>
                      <a:pPr algn="l" rtl="0" fontAlgn="t"/>
                      <a:r>
                        <a:rPr lang="en-US" sz="1200" b="0" i="0" u="none" strike="noStrike" dirty="0">
                          <a:solidFill>
                            <a:srgbClr val="5F5F5F"/>
                          </a:solidFill>
                          <a:latin typeface="+mn-lt"/>
                        </a:rPr>
                        <a:t>13+ </a:t>
                      </a:r>
                    </a:p>
                  </a:txBody>
                  <a:tcPr marL="6980" marR="6980" marT="6980" marB="0">
                    <a:lnL>
                      <a:noFill/>
                    </a:lnL>
                    <a:lnR w="12700" cap="flat" cmpd="sng" algn="ctr">
                      <a:solidFill>
                        <a:srgbClr val="5F5F5F"/>
                      </a:solidFill>
                      <a:prstDash val="solid"/>
                      <a:round/>
                      <a:headEnd type="none" w="med" len="med"/>
                      <a:tailEnd type="none" w="med" len="med"/>
                    </a:lnR>
                    <a:lnT w="12700" cap="flat" cmpd="sng" algn="ctr">
                      <a:solidFill>
                        <a:srgbClr val="5F5F5F"/>
                      </a:solidFill>
                      <a:prstDash val="solid"/>
                      <a:round/>
                      <a:headEnd type="none" w="med" len="med"/>
                      <a:tailEnd type="none" w="med" len="med"/>
                    </a:lnT>
                    <a:lnB w="12700" cap="flat" cmpd="sng" algn="ctr">
                      <a:solidFill>
                        <a:srgbClr val="5F5F5F"/>
                      </a:solidFill>
                      <a:prstDash val="solid"/>
                      <a:round/>
                      <a:headEnd type="none" w="med" len="med"/>
                      <a:tailEnd type="none" w="med" len="med"/>
                    </a:lnB>
                  </a:tcPr>
                </a:tc>
              </a:tr>
              <a:tr h="484977">
                <a:tc>
                  <a:txBody>
                    <a:bodyPr/>
                    <a:lstStyle/>
                    <a:p>
                      <a:pPr algn="l" rtl="0" fontAlgn="t"/>
                      <a:r>
                        <a:rPr lang="en-US" sz="1200" b="0" i="0" u="none" strike="noStrike">
                          <a:solidFill>
                            <a:srgbClr val="5F5F5F"/>
                          </a:solidFill>
                          <a:latin typeface="+mn-lt"/>
                        </a:rPr>
                        <a:t>3-13198590421 </a:t>
                      </a:r>
                    </a:p>
                  </a:txBody>
                  <a:tcPr marL="6980" marR="6980" marT="6980" marB="0">
                    <a:lnL w="12700" cap="flat" cmpd="sng" algn="ctr">
                      <a:solidFill>
                        <a:srgbClr val="5F5F5F"/>
                      </a:solidFill>
                      <a:prstDash val="solid"/>
                      <a:round/>
                      <a:headEnd type="none" w="med" len="med"/>
                      <a:tailEnd type="none" w="med" len="med"/>
                    </a:lnL>
                    <a:lnR>
                      <a:noFill/>
                    </a:lnR>
                    <a:lnT w="12700" cap="flat" cmpd="sng" algn="ctr">
                      <a:solidFill>
                        <a:srgbClr val="5F5F5F"/>
                      </a:solidFill>
                      <a:prstDash val="solid"/>
                      <a:round/>
                      <a:headEnd type="none" w="med" len="med"/>
                      <a:tailEnd type="none" w="med" len="med"/>
                    </a:lnT>
                    <a:lnB w="12700" cap="flat" cmpd="sng" algn="ctr">
                      <a:solidFill>
                        <a:srgbClr val="5F5F5F"/>
                      </a:solidFill>
                      <a:prstDash val="solid"/>
                      <a:round/>
                      <a:headEnd type="none" w="med" len="med"/>
                      <a:tailEnd type="none" w="med" len="med"/>
                    </a:lnB>
                    <a:solidFill>
                      <a:srgbClr val="EAEAEA"/>
                    </a:solidFill>
                  </a:tcPr>
                </a:tc>
                <a:tc>
                  <a:txBody>
                    <a:bodyPr/>
                    <a:lstStyle/>
                    <a:p>
                      <a:pPr algn="l" rtl="0" fontAlgn="t"/>
                      <a:r>
                        <a:rPr lang="en-US" sz="1200" b="0" i="0" u="none" strike="noStrike" dirty="0">
                          <a:solidFill>
                            <a:srgbClr val="5F5F5F"/>
                          </a:solidFill>
                          <a:latin typeface="+mn-lt"/>
                        </a:rPr>
                        <a:t>Issue while importing territories for </a:t>
                      </a:r>
                      <a:r>
                        <a:rPr lang="en-US" sz="1200" b="0" i="0" u="none" strike="noStrike" dirty="0" smtClean="0">
                          <a:solidFill>
                            <a:srgbClr val="5F5F5F"/>
                          </a:solidFill>
                          <a:latin typeface="+mn-lt"/>
                        </a:rPr>
                        <a:t>Canada</a:t>
                      </a:r>
                      <a:r>
                        <a:rPr lang="en-US" sz="1200" b="0" i="0" u="none" strike="noStrike" dirty="0">
                          <a:solidFill>
                            <a:srgbClr val="5F5F5F"/>
                          </a:solidFill>
                          <a:latin typeface="+mn-lt"/>
                        </a:rPr>
                        <a:t>, Sweden </a:t>
                      </a:r>
                    </a:p>
                  </a:txBody>
                  <a:tcPr marL="6980" marR="6980" marT="6980" marB="0">
                    <a:lnL>
                      <a:noFill/>
                    </a:lnL>
                    <a:lnR>
                      <a:noFill/>
                    </a:lnR>
                    <a:lnT w="12700" cap="flat" cmpd="sng" algn="ctr">
                      <a:solidFill>
                        <a:srgbClr val="5F5F5F"/>
                      </a:solidFill>
                      <a:prstDash val="solid"/>
                      <a:round/>
                      <a:headEnd type="none" w="med" len="med"/>
                      <a:tailEnd type="none" w="med" len="med"/>
                    </a:lnT>
                    <a:lnB w="12700" cap="flat" cmpd="sng" algn="ctr">
                      <a:solidFill>
                        <a:srgbClr val="5F5F5F"/>
                      </a:solidFill>
                      <a:prstDash val="solid"/>
                      <a:round/>
                      <a:headEnd type="none" w="med" len="med"/>
                      <a:tailEnd type="none" w="med" len="med"/>
                    </a:lnB>
                    <a:solidFill>
                      <a:srgbClr val="EAEAEA"/>
                    </a:solidFill>
                  </a:tcPr>
                </a:tc>
                <a:tc>
                  <a:txBody>
                    <a:bodyPr/>
                    <a:lstStyle/>
                    <a:p>
                      <a:pPr algn="l" rtl="0" fontAlgn="t"/>
                      <a:r>
                        <a:rPr lang="en-US" sz="1200" b="0" i="0" u="none" strike="noStrike" dirty="0">
                          <a:solidFill>
                            <a:srgbClr val="5F5F5F"/>
                          </a:solidFill>
                          <a:latin typeface="+mn-lt"/>
                        </a:rPr>
                        <a:t> </a:t>
                      </a:r>
                      <a:r>
                        <a:rPr lang="en-US" sz="1200" b="0" i="0" u="none" strike="noStrike" dirty="0" smtClean="0">
                          <a:solidFill>
                            <a:srgbClr val="5F5F5F"/>
                          </a:solidFill>
                          <a:latin typeface="+mn-lt"/>
                        </a:rPr>
                        <a:t>ER # 24527799 </a:t>
                      </a:r>
                      <a:endParaRPr lang="en-US" sz="1200" b="0" i="0" u="none" strike="noStrike" dirty="0">
                        <a:solidFill>
                          <a:srgbClr val="5F5F5F"/>
                        </a:solidFill>
                        <a:latin typeface="+mn-lt"/>
                      </a:endParaRPr>
                    </a:p>
                  </a:txBody>
                  <a:tcPr marL="6980" marR="6980" marT="6980" marB="0">
                    <a:lnL>
                      <a:noFill/>
                    </a:lnL>
                    <a:lnR>
                      <a:noFill/>
                    </a:lnR>
                    <a:lnT w="12700" cap="flat" cmpd="sng" algn="ctr">
                      <a:solidFill>
                        <a:srgbClr val="5F5F5F"/>
                      </a:solidFill>
                      <a:prstDash val="solid"/>
                      <a:round/>
                      <a:headEnd type="none" w="med" len="med"/>
                      <a:tailEnd type="none" w="med" len="med"/>
                    </a:lnT>
                    <a:lnB w="12700" cap="flat" cmpd="sng" algn="ctr">
                      <a:solidFill>
                        <a:srgbClr val="5F5F5F"/>
                      </a:solidFill>
                      <a:prstDash val="solid"/>
                      <a:round/>
                      <a:headEnd type="none" w="med" len="med"/>
                      <a:tailEnd type="none" w="med" len="med"/>
                    </a:lnB>
                    <a:solidFill>
                      <a:srgbClr val="EAEAEA"/>
                    </a:solidFill>
                  </a:tcPr>
                </a:tc>
                <a:tc>
                  <a:txBody>
                    <a:bodyPr/>
                    <a:lstStyle/>
                    <a:p>
                      <a:pPr algn="l" rtl="0" fontAlgn="t"/>
                      <a:r>
                        <a:rPr lang="en-US" sz="1200" b="0" i="0" u="none" strike="noStrike" dirty="0">
                          <a:solidFill>
                            <a:srgbClr val="5F5F5F"/>
                          </a:solidFill>
                          <a:latin typeface="+mn-lt"/>
                        </a:rPr>
                        <a:t>13+ </a:t>
                      </a:r>
                    </a:p>
                  </a:txBody>
                  <a:tcPr marL="6980" marR="6980" marT="6980" marB="0">
                    <a:lnL>
                      <a:noFill/>
                    </a:lnL>
                    <a:lnR w="12700" cap="flat" cmpd="sng" algn="ctr">
                      <a:solidFill>
                        <a:srgbClr val="5F5F5F"/>
                      </a:solidFill>
                      <a:prstDash val="solid"/>
                      <a:round/>
                      <a:headEnd type="none" w="med" len="med"/>
                      <a:tailEnd type="none" w="med" len="med"/>
                    </a:lnR>
                    <a:lnT w="12700" cap="flat" cmpd="sng" algn="ctr">
                      <a:solidFill>
                        <a:srgbClr val="5F5F5F"/>
                      </a:solidFill>
                      <a:prstDash val="solid"/>
                      <a:round/>
                      <a:headEnd type="none" w="med" len="med"/>
                      <a:tailEnd type="none" w="med" len="med"/>
                    </a:lnT>
                    <a:lnB w="12700" cap="flat" cmpd="sng" algn="ctr">
                      <a:solidFill>
                        <a:srgbClr val="5F5F5F"/>
                      </a:solidFill>
                      <a:prstDash val="solid"/>
                      <a:round/>
                      <a:headEnd type="none" w="med" len="med"/>
                      <a:tailEnd type="none" w="med" len="med"/>
                    </a:lnB>
                    <a:solidFill>
                      <a:srgbClr val="EAEAEA"/>
                    </a:solidFill>
                  </a:tcPr>
                </a:tc>
              </a:tr>
              <a:tr h="484977">
                <a:tc>
                  <a:txBody>
                    <a:bodyPr/>
                    <a:lstStyle/>
                    <a:p>
                      <a:pPr algn="l" rtl="0" fontAlgn="t"/>
                      <a:r>
                        <a:rPr lang="en-US" sz="1200" b="0" i="0" u="none" strike="noStrike" dirty="0">
                          <a:solidFill>
                            <a:srgbClr val="5F5F5F"/>
                          </a:solidFill>
                          <a:latin typeface="+mn-lt"/>
                        </a:rPr>
                        <a:t>3-13258497111 </a:t>
                      </a:r>
                    </a:p>
                  </a:txBody>
                  <a:tcPr marL="6980" marR="6980" marT="6980" marB="0">
                    <a:lnL w="12700" cap="flat" cmpd="sng" algn="ctr">
                      <a:solidFill>
                        <a:srgbClr val="5F5F5F"/>
                      </a:solidFill>
                      <a:prstDash val="solid"/>
                      <a:round/>
                      <a:headEnd type="none" w="med" len="med"/>
                      <a:tailEnd type="none" w="med" len="med"/>
                    </a:lnL>
                    <a:lnR>
                      <a:noFill/>
                    </a:lnR>
                    <a:lnT w="12700" cap="flat" cmpd="sng" algn="ctr">
                      <a:solidFill>
                        <a:srgbClr val="5F5F5F"/>
                      </a:solidFill>
                      <a:prstDash val="solid"/>
                      <a:round/>
                      <a:headEnd type="none" w="med" len="med"/>
                      <a:tailEnd type="none" w="med" len="med"/>
                    </a:lnT>
                    <a:lnB w="12700" cap="flat" cmpd="sng" algn="ctr">
                      <a:solidFill>
                        <a:srgbClr val="5F5F5F"/>
                      </a:solidFill>
                      <a:prstDash val="solid"/>
                      <a:round/>
                      <a:headEnd type="none" w="med" len="med"/>
                      <a:tailEnd type="none" w="med" len="med"/>
                    </a:lnB>
                  </a:tcPr>
                </a:tc>
                <a:tc>
                  <a:txBody>
                    <a:bodyPr/>
                    <a:lstStyle/>
                    <a:p>
                      <a:pPr algn="l" rtl="0" fontAlgn="t"/>
                      <a:r>
                        <a:rPr lang="en-US" sz="1200" b="0" i="0" u="none" strike="noStrike" dirty="0">
                          <a:solidFill>
                            <a:srgbClr val="5F5F5F"/>
                          </a:solidFill>
                          <a:latin typeface="+mn-lt"/>
                        </a:rPr>
                        <a:t>Assign Sales Lead Territory add option is not visible under Lead Assignment Rules </a:t>
                      </a:r>
                    </a:p>
                  </a:txBody>
                  <a:tcPr marL="6980" marR="6980" marT="6980" marB="0">
                    <a:lnL>
                      <a:noFill/>
                    </a:lnL>
                    <a:lnR>
                      <a:noFill/>
                    </a:lnR>
                    <a:lnT w="12700" cap="flat" cmpd="sng" algn="ctr">
                      <a:solidFill>
                        <a:srgbClr val="5F5F5F"/>
                      </a:solidFill>
                      <a:prstDash val="solid"/>
                      <a:round/>
                      <a:headEnd type="none" w="med" len="med"/>
                      <a:tailEnd type="none" w="med" len="med"/>
                    </a:lnT>
                    <a:lnB w="12700" cap="flat" cmpd="sng" algn="ctr">
                      <a:solidFill>
                        <a:srgbClr val="5F5F5F"/>
                      </a:solidFill>
                      <a:prstDash val="solid"/>
                      <a:round/>
                      <a:headEnd type="none" w="med" len="med"/>
                      <a:tailEnd type="none" w="med" len="med"/>
                    </a:lnB>
                  </a:tcPr>
                </a:tc>
                <a:tc>
                  <a:txBody>
                    <a:bodyPr/>
                    <a:lstStyle/>
                    <a:p>
                      <a:pPr algn="l" rtl="0" fontAlgn="t"/>
                      <a:r>
                        <a:rPr lang="en-US" sz="1200" b="0" i="0" u="none" strike="noStrike" dirty="0">
                          <a:solidFill>
                            <a:srgbClr val="5F5F5F"/>
                          </a:solidFill>
                          <a:latin typeface="+mn-lt"/>
                        </a:rPr>
                        <a:t> </a:t>
                      </a:r>
                      <a:r>
                        <a:rPr lang="en-US" sz="1200" b="0" i="0" u="none" strike="noStrike" dirty="0" smtClean="0">
                          <a:solidFill>
                            <a:srgbClr val="5F5F5F"/>
                          </a:solidFill>
                          <a:latin typeface="+mn-lt"/>
                        </a:rPr>
                        <a:t>ER #24622166</a:t>
                      </a:r>
                      <a:endParaRPr lang="en-US" sz="1200" b="0" i="0" u="none" strike="noStrike" dirty="0">
                        <a:solidFill>
                          <a:srgbClr val="5F5F5F"/>
                        </a:solidFill>
                        <a:latin typeface="+mn-lt"/>
                      </a:endParaRPr>
                    </a:p>
                  </a:txBody>
                  <a:tcPr marL="6980" marR="6980" marT="6980" marB="0">
                    <a:lnL>
                      <a:noFill/>
                    </a:lnL>
                    <a:lnR>
                      <a:noFill/>
                    </a:lnR>
                    <a:lnT w="12700" cap="flat" cmpd="sng" algn="ctr">
                      <a:solidFill>
                        <a:srgbClr val="5F5F5F"/>
                      </a:solidFill>
                      <a:prstDash val="solid"/>
                      <a:round/>
                      <a:headEnd type="none" w="med" len="med"/>
                      <a:tailEnd type="none" w="med" len="med"/>
                    </a:lnT>
                    <a:lnB w="12700" cap="flat" cmpd="sng" algn="ctr">
                      <a:solidFill>
                        <a:srgbClr val="5F5F5F"/>
                      </a:solidFill>
                      <a:prstDash val="solid"/>
                      <a:round/>
                      <a:headEnd type="none" w="med" len="med"/>
                      <a:tailEnd type="none" w="med" len="med"/>
                    </a:lnB>
                  </a:tcPr>
                </a:tc>
                <a:tc>
                  <a:txBody>
                    <a:bodyPr/>
                    <a:lstStyle/>
                    <a:p>
                      <a:pPr algn="l" rtl="0" fontAlgn="t"/>
                      <a:r>
                        <a:rPr lang="en-US" sz="1200" b="0" i="0" u="none" strike="noStrike" dirty="0">
                          <a:solidFill>
                            <a:srgbClr val="5F5F5F"/>
                          </a:solidFill>
                          <a:latin typeface="+mn-lt"/>
                        </a:rPr>
                        <a:t>n/a </a:t>
                      </a:r>
                    </a:p>
                  </a:txBody>
                  <a:tcPr marL="6980" marR="6980" marT="6980" marB="0">
                    <a:lnL>
                      <a:noFill/>
                    </a:lnL>
                    <a:lnR w="12700" cap="flat" cmpd="sng" algn="ctr">
                      <a:solidFill>
                        <a:srgbClr val="5F5F5F"/>
                      </a:solidFill>
                      <a:prstDash val="solid"/>
                      <a:round/>
                      <a:headEnd type="none" w="med" len="med"/>
                      <a:tailEnd type="none" w="med" len="med"/>
                    </a:lnR>
                    <a:lnT w="12700" cap="flat" cmpd="sng" algn="ctr">
                      <a:solidFill>
                        <a:srgbClr val="5F5F5F"/>
                      </a:solidFill>
                      <a:prstDash val="solid"/>
                      <a:round/>
                      <a:headEnd type="none" w="med" len="med"/>
                      <a:tailEnd type="none" w="med" len="med"/>
                    </a:lnT>
                    <a:lnB w="12700" cap="flat" cmpd="sng" algn="ctr">
                      <a:solidFill>
                        <a:srgbClr val="5F5F5F"/>
                      </a:solidFill>
                      <a:prstDash val="solid"/>
                      <a:round/>
                      <a:headEnd type="none" w="med" len="med"/>
                      <a:tailEnd type="none" w="med" len="med"/>
                    </a:lnB>
                  </a:tcPr>
                </a:tc>
              </a:tr>
              <a:tr h="247243">
                <a:tc>
                  <a:txBody>
                    <a:bodyPr/>
                    <a:lstStyle/>
                    <a:p>
                      <a:pPr algn="l" rtl="0" fontAlgn="t"/>
                      <a:r>
                        <a:rPr lang="en-US" sz="1200" b="0" i="0" u="none" strike="noStrike">
                          <a:solidFill>
                            <a:srgbClr val="5F5F5F"/>
                          </a:solidFill>
                          <a:latin typeface="+mn-lt"/>
                        </a:rPr>
                        <a:t>3-13265638681 </a:t>
                      </a:r>
                    </a:p>
                  </a:txBody>
                  <a:tcPr marL="6980" marR="6980" marT="6980" marB="0">
                    <a:lnL w="12700" cap="flat" cmpd="sng" algn="ctr">
                      <a:solidFill>
                        <a:srgbClr val="5F5F5F"/>
                      </a:solidFill>
                      <a:prstDash val="solid"/>
                      <a:round/>
                      <a:headEnd type="none" w="med" len="med"/>
                      <a:tailEnd type="none" w="med" len="med"/>
                    </a:lnL>
                    <a:lnR>
                      <a:noFill/>
                    </a:lnR>
                    <a:lnT w="12700" cap="flat" cmpd="sng" algn="ctr">
                      <a:solidFill>
                        <a:srgbClr val="5F5F5F"/>
                      </a:solidFill>
                      <a:prstDash val="solid"/>
                      <a:round/>
                      <a:headEnd type="none" w="med" len="med"/>
                      <a:tailEnd type="none" w="med" len="med"/>
                    </a:lnT>
                    <a:lnB w="12700" cap="flat" cmpd="sng" algn="ctr">
                      <a:solidFill>
                        <a:srgbClr val="5F5F5F"/>
                      </a:solidFill>
                      <a:prstDash val="solid"/>
                      <a:round/>
                      <a:headEnd type="none" w="med" len="med"/>
                      <a:tailEnd type="none" w="med" len="med"/>
                    </a:lnB>
                    <a:solidFill>
                      <a:srgbClr val="EAEAEA"/>
                    </a:solidFill>
                  </a:tcPr>
                </a:tc>
                <a:tc>
                  <a:txBody>
                    <a:bodyPr/>
                    <a:lstStyle/>
                    <a:p>
                      <a:pPr algn="l" rtl="0" fontAlgn="t"/>
                      <a:r>
                        <a:rPr lang="en-US" sz="1200" b="0" i="0" u="none" strike="noStrike">
                          <a:solidFill>
                            <a:srgbClr val="5F5F5F"/>
                          </a:solidFill>
                          <a:latin typeface="+mn-lt"/>
                        </a:rPr>
                        <a:t>CBFV: Assignment Rules for Account </a:t>
                      </a:r>
                    </a:p>
                  </a:txBody>
                  <a:tcPr marL="6980" marR="6980" marT="6980" marB="0">
                    <a:lnL>
                      <a:noFill/>
                    </a:lnL>
                    <a:lnR>
                      <a:noFill/>
                    </a:lnR>
                    <a:lnT w="12700" cap="flat" cmpd="sng" algn="ctr">
                      <a:solidFill>
                        <a:srgbClr val="5F5F5F"/>
                      </a:solidFill>
                      <a:prstDash val="solid"/>
                      <a:round/>
                      <a:headEnd type="none" w="med" len="med"/>
                      <a:tailEnd type="none" w="med" len="med"/>
                    </a:lnT>
                    <a:lnB w="12700" cap="flat" cmpd="sng" algn="ctr">
                      <a:solidFill>
                        <a:srgbClr val="5F5F5F"/>
                      </a:solidFill>
                      <a:prstDash val="solid"/>
                      <a:round/>
                      <a:headEnd type="none" w="med" len="med"/>
                      <a:tailEnd type="none" w="med" len="med"/>
                    </a:lnB>
                    <a:solidFill>
                      <a:srgbClr val="EAEAEA"/>
                    </a:solidFill>
                  </a:tcPr>
                </a:tc>
                <a:tc>
                  <a:txBody>
                    <a:bodyPr/>
                    <a:lstStyle/>
                    <a:p>
                      <a:pPr algn="l" rtl="0" fontAlgn="t"/>
                      <a:r>
                        <a:rPr lang="en-US" sz="1200" b="0" i="0" u="none" strike="noStrike" dirty="0">
                          <a:solidFill>
                            <a:srgbClr val="5F5F5F"/>
                          </a:solidFill>
                          <a:latin typeface="+mn-lt"/>
                        </a:rPr>
                        <a:t> </a:t>
                      </a:r>
                      <a:r>
                        <a:rPr lang="en-US" sz="1200" b="0" i="0" u="none" strike="noStrike" dirty="0" smtClean="0">
                          <a:solidFill>
                            <a:srgbClr val="5F5F5F"/>
                          </a:solidFill>
                          <a:latin typeface="+mn-lt"/>
                        </a:rPr>
                        <a:t>ER#24668568</a:t>
                      </a:r>
                      <a:endParaRPr lang="en-US" sz="1200" b="0" i="0" u="none" strike="noStrike" dirty="0">
                        <a:solidFill>
                          <a:srgbClr val="5F5F5F"/>
                        </a:solidFill>
                        <a:latin typeface="+mn-lt"/>
                      </a:endParaRPr>
                    </a:p>
                  </a:txBody>
                  <a:tcPr marL="6980" marR="6980" marT="6980" marB="0">
                    <a:lnL>
                      <a:noFill/>
                    </a:lnL>
                    <a:lnR>
                      <a:noFill/>
                    </a:lnR>
                    <a:lnT w="12700" cap="flat" cmpd="sng" algn="ctr">
                      <a:solidFill>
                        <a:srgbClr val="5F5F5F"/>
                      </a:solidFill>
                      <a:prstDash val="solid"/>
                      <a:round/>
                      <a:headEnd type="none" w="med" len="med"/>
                      <a:tailEnd type="none" w="med" len="med"/>
                    </a:lnT>
                    <a:lnB w="12700" cap="flat" cmpd="sng" algn="ctr">
                      <a:solidFill>
                        <a:srgbClr val="5F5F5F"/>
                      </a:solidFill>
                      <a:prstDash val="solid"/>
                      <a:round/>
                      <a:headEnd type="none" w="med" len="med"/>
                      <a:tailEnd type="none" w="med" len="med"/>
                    </a:lnB>
                    <a:solidFill>
                      <a:srgbClr val="EAEAEA"/>
                    </a:solidFill>
                  </a:tcPr>
                </a:tc>
                <a:tc>
                  <a:txBody>
                    <a:bodyPr/>
                    <a:lstStyle/>
                    <a:p>
                      <a:pPr algn="l" rtl="0" fontAlgn="t"/>
                      <a:r>
                        <a:rPr lang="en-US" sz="1200" b="0" i="0" u="none" strike="noStrike" dirty="0">
                          <a:solidFill>
                            <a:srgbClr val="5F5F5F"/>
                          </a:solidFill>
                          <a:latin typeface="+mn-lt"/>
                        </a:rPr>
                        <a:t>pending</a:t>
                      </a:r>
                    </a:p>
                  </a:txBody>
                  <a:tcPr marL="6980" marR="6980" marT="6980" marB="0">
                    <a:lnL>
                      <a:noFill/>
                    </a:lnL>
                    <a:lnR w="12700" cap="flat" cmpd="sng" algn="ctr">
                      <a:solidFill>
                        <a:srgbClr val="5F5F5F"/>
                      </a:solidFill>
                      <a:prstDash val="solid"/>
                      <a:round/>
                      <a:headEnd type="none" w="med" len="med"/>
                      <a:tailEnd type="none" w="med" len="med"/>
                    </a:lnR>
                    <a:lnT w="12700" cap="flat" cmpd="sng" algn="ctr">
                      <a:solidFill>
                        <a:srgbClr val="5F5F5F"/>
                      </a:solidFill>
                      <a:prstDash val="solid"/>
                      <a:round/>
                      <a:headEnd type="none" w="med" len="med"/>
                      <a:tailEnd type="none" w="med" len="med"/>
                    </a:lnT>
                    <a:lnB w="12700" cap="flat" cmpd="sng" algn="ctr">
                      <a:solidFill>
                        <a:srgbClr val="5F5F5F"/>
                      </a:solidFill>
                      <a:prstDash val="solid"/>
                      <a:round/>
                      <a:headEnd type="none" w="med" len="med"/>
                      <a:tailEnd type="none" w="med" len="med"/>
                    </a:lnB>
                    <a:solidFill>
                      <a:srgbClr val="EAEAEA"/>
                    </a:solidFill>
                  </a:tcPr>
                </a:tc>
              </a:tr>
              <a:tr h="484977">
                <a:tc>
                  <a:txBody>
                    <a:bodyPr/>
                    <a:lstStyle/>
                    <a:p>
                      <a:pPr algn="l" rtl="0" fontAlgn="t"/>
                      <a:r>
                        <a:rPr lang="en-US" sz="1200" b="0" i="0" u="none" strike="noStrike" dirty="0">
                          <a:solidFill>
                            <a:srgbClr val="5F5F5F"/>
                          </a:solidFill>
                          <a:latin typeface="+mn-lt"/>
                        </a:rPr>
                        <a:t>3-13230134271 </a:t>
                      </a:r>
                    </a:p>
                  </a:txBody>
                  <a:tcPr marL="6980" marR="6980" marT="6980" marB="0">
                    <a:lnL w="12700" cap="flat" cmpd="sng" algn="ctr">
                      <a:solidFill>
                        <a:srgbClr val="5F5F5F"/>
                      </a:solidFill>
                      <a:prstDash val="solid"/>
                      <a:round/>
                      <a:headEnd type="none" w="med" len="med"/>
                      <a:tailEnd type="none" w="med" len="med"/>
                    </a:lnL>
                    <a:lnR>
                      <a:noFill/>
                    </a:lnR>
                    <a:lnT w="12700" cap="flat" cmpd="sng" algn="ctr">
                      <a:solidFill>
                        <a:srgbClr val="5F5F5F"/>
                      </a:solidFill>
                      <a:prstDash val="solid"/>
                      <a:round/>
                      <a:headEnd type="none" w="med" len="med"/>
                      <a:tailEnd type="none" w="med" len="med"/>
                    </a:lnT>
                    <a:lnB w="12700" cap="flat" cmpd="sng" algn="ctr">
                      <a:solidFill>
                        <a:srgbClr val="5F5F5F"/>
                      </a:solidFill>
                      <a:prstDash val="solid"/>
                      <a:round/>
                      <a:headEnd type="none" w="med" len="med"/>
                      <a:tailEnd type="none" w="med" len="med"/>
                    </a:lnB>
                  </a:tcPr>
                </a:tc>
                <a:tc>
                  <a:txBody>
                    <a:bodyPr/>
                    <a:lstStyle/>
                    <a:p>
                      <a:pPr algn="l" rtl="0" fontAlgn="t"/>
                      <a:r>
                        <a:rPr lang="en-US" sz="1200" b="0" i="0" u="none" strike="noStrike" dirty="0">
                          <a:solidFill>
                            <a:srgbClr val="5F5F5F"/>
                          </a:solidFill>
                          <a:latin typeface="+mn-lt"/>
                        </a:rPr>
                        <a:t>Viewing the Territory Team at the Account and Opportunity Level </a:t>
                      </a:r>
                    </a:p>
                  </a:txBody>
                  <a:tcPr marL="6980" marR="6980" marT="6980" marB="0">
                    <a:lnL>
                      <a:noFill/>
                    </a:lnL>
                    <a:lnR>
                      <a:noFill/>
                    </a:lnR>
                    <a:lnT w="12700" cap="flat" cmpd="sng" algn="ctr">
                      <a:solidFill>
                        <a:srgbClr val="5F5F5F"/>
                      </a:solidFill>
                      <a:prstDash val="solid"/>
                      <a:round/>
                      <a:headEnd type="none" w="med" len="med"/>
                      <a:tailEnd type="none" w="med" len="med"/>
                    </a:lnT>
                    <a:lnB w="12700" cap="flat" cmpd="sng" algn="ctr">
                      <a:solidFill>
                        <a:srgbClr val="5F5F5F"/>
                      </a:solidFill>
                      <a:prstDash val="solid"/>
                      <a:round/>
                      <a:headEnd type="none" w="med" len="med"/>
                      <a:tailEnd type="none" w="med" len="med"/>
                    </a:lnB>
                  </a:tcPr>
                </a:tc>
                <a:tc>
                  <a:txBody>
                    <a:bodyPr/>
                    <a:lstStyle/>
                    <a:p>
                      <a:pPr algn="l" rtl="0" fontAlgn="t"/>
                      <a:r>
                        <a:rPr lang="en-US" sz="1200" b="0" i="0" u="none" strike="noStrike" dirty="0">
                          <a:solidFill>
                            <a:srgbClr val="5F5F5F"/>
                          </a:solidFill>
                          <a:latin typeface="+mn-lt"/>
                        </a:rPr>
                        <a:t> </a:t>
                      </a:r>
                      <a:r>
                        <a:rPr lang="en-US" sz="1200" b="0" i="0" u="none" strike="noStrike" dirty="0" smtClean="0">
                          <a:solidFill>
                            <a:srgbClr val="5F5F5F"/>
                          </a:solidFill>
                          <a:latin typeface="+mn-lt"/>
                        </a:rPr>
                        <a:t>ER 24797014</a:t>
                      </a:r>
                      <a:endParaRPr lang="en-US" sz="1200" b="0" i="0" u="none" strike="noStrike" dirty="0">
                        <a:solidFill>
                          <a:srgbClr val="5F5F5F"/>
                        </a:solidFill>
                        <a:latin typeface="+mn-lt"/>
                      </a:endParaRPr>
                    </a:p>
                  </a:txBody>
                  <a:tcPr marL="6980" marR="6980" marT="6980" marB="0">
                    <a:lnL>
                      <a:noFill/>
                    </a:lnL>
                    <a:lnR>
                      <a:noFill/>
                    </a:lnR>
                    <a:lnT w="12700" cap="flat" cmpd="sng" algn="ctr">
                      <a:solidFill>
                        <a:srgbClr val="5F5F5F"/>
                      </a:solidFill>
                      <a:prstDash val="solid"/>
                      <a:round/>
                      <a:headEnd type="none" w="med" len="med"/>
                      <a:tailEnd type="none" w="med" len="med"/>
                    </a:lnT>
                    <a:lnB w="12700" cap="flat" cmpd="sng" algn="ctr">
                      <a:solidFill>
                        <a:srgbClr val="5F5F5F"/>
                      </a:solidFill>
                      <a:prstDash val="solid"/>
                      <a:round/>
                      <a:headEnd type="none" w="med" len="med"/>
                      <a:tailEnd type="none" w="med" len="med"/>
                    </a:lnB>
                  </a:tcPr>
                </a:tc>
                <a:tc>
                  <a:txBody>
                    <a:bodyPr/>
                    <a:lstStyle/>
                    <a:p>
                      <a:pPr algn="l" rtl="0" fontAlgn="t"/>
                      <a:r>
                        <a:rPr lang="en-US" sz="1200" b="0" i="0" u="none" strike="noStrike" dirty="0">
                          <a:solidFill>
                            <a:srgbClr val="5F5F5F"/>
                          </a:solidFill>
                          <a:latin typeface="+mn-lt"/>
                        </a:rPr>
                        <a:t>n/a</a:t>
                      </a:r>
                    </a:p>
                  </a:txBody>
                  <a:tcPr marL="6980" marR="6980" marT="6980" marB="0">
                    <a:lnL>
                      <a:noFill/>
                    </a:lnL>
                    <a:lnR w="12700" cap="flat" cmpd="sng" algn="ctr">
                      <a:solidFill>
                        <a:srgbClr val="5F5F5F"/>
                      </a:solidFill>
                      <a:prstDash val="solid"/>
                      <a:round/>
                      <a:headEnd type="none" w="med" len="med"/>
                      <a:tailEnd type="none" w="med" len="med"/>
                    </a:lnR>
                    <a:lnT w="12700" cap="flat" cmpd="sng" algn="ctr">
                      <a:solidFill>
                        <a:srgbClr val="5F5F5F"/>
                      </a:solidFill>
                      <a:prstDash val="solid"/>
                      <a:round/>
                      <a:headEnd type="none" w="med" len="med"/>
                      <a:tailEnd type="none" w="med" len="med"/>
                    </a:lnT>
                    <a:lnB w="12700" cap="flat" cmpd="sng" algn="ctr">
                      <a:solidFill>
                        <a:srgbClr val="5F5F5F"/>
                      </a:solidFill>
                      <a:prstDash val="solid"/>
                      <a:round/>
                      <a:headEnd type="none" w="med" len="med"/>
                      <a:tailEnd type="none" w="med" len="med"/>
                    </a:lnB>
                  </a:tcPr>
                </a:tc>
              </a:tr>
              <a:tr h="484977">
                <a:tc>
                  <a:txBody>
                    <a:bodyPr/>
                    <a:lstStyle/>
                    <a:p>
                      <a:pPr algn="l" rtl="0" fontAlgn="t"/>
                      <a:r>
                        <a:rPr lang="en-US" sz="1200" b="0" i="0" u="none" strike="noStrike" dirty="0">
                          <a:solidFill>
                            <a:srgbClr val="5F5F5F"/>
                          </a:solidFill>
                          <a:latin typeface="+mn-lt"/>
                        </a:rPr>
                        <a:t>3-13369847071 </a:t>
                      </a:r>
                    </a:p>
                  </a:txBody>
                  <a:tcPr marL="6980" marR="6980" marT="6980" marB="0">
                    <a:lnL w="12700" cap="flat" cmpd="sng" algn="ctr">
                      <a:solidFill>
                        <a:srgbClr val="5F5F5F"/>
                      </a:solidFill>
                      <a:prstDash val="solid"/>
                      <a:round/>
                      <a:headEnd type="none" w="med" len="med"/>
                      <a:tailEnd type="none" w="med" len="med"/>
                    </a:lnL>
                    <a:lnR>
                      <a:noFill/>
                    </a:lnR>
                    <a:lnT w="12700" cap="flat" cmpd="sng" algn="ctr">
                      <a:solidFill>
                        <a:srgbClr val="5F5F5F"/>
                      </a:solidFill>
                      <a:prstDash val="solid"/>
                      <a:round/>
                      <a:headEnd type="none" w="med" len="med"/>
                      <a:tailEnd type="none" w="med" len="med"/>
                    </a:lnT>
                    <a:lnB w="12700" cap="flat" cmpd="sng" algn="ctr">
                      <a:solidFill>
                        <a:srgbClr val="5F5F5F"/>
                      </a:solidFill>
                      <a:prstDash val="solid"/>
                      <a:round/>
                      <a:headEnd type="none" w="med" len="med"/>
                      <a:tailEnd type="none" w="med" len="med"/>
                    </a:lnB>
                    <a:solidFill>
                      <a:srgbClr val="EAEAEA"/>
                    </a:solidFill>
                  </a:tcPr>
                </a:tc>
                <a:tc>
                  <a:txBody>
                    <a:bodyPr/>
                    <a:lstStyle/>
                    <a:p>
                      <a:pPr algn="l" rtl="0" fontAlgn="t"/>
                      <a:r>
                        <a:rPr lang="en-US" sz="1200" b="0" i="0" u="none" strike="noStrike" dirty="0">
                          <a:solidFill>
                            <a:srgbClr val="5F5F5F"/>
                          </a:solidFill>
                          <a:latin typeface="+mn-lt"/>
                        </a:rPr>
                        <a:t>Territory Re -Assignment Issue when no matching territory exist </a:t>
                      </a:r>
                    </a:p>
                  </a:txBody>
                  <a:tcPr marL="6980" marR="6980" marT="6980" marB="0">
                    <a:lnL>
                      <a:noFill/>
                    </a:lnL>
                    <a:lnR>
                      <a:noFill/>
                    </a:lnR>
                    <a:lnT w="12700" cap="flat" cmpd="sng" algn="ctr">
                      <a:solidFill>
                        <a:srgbClr val="5F5F5F"/>
                      </a:solidFill>
                      <a:prstDash val="solid"/>
                      <a:round/>
                      <a:headEnd type="none" w="med" len="med"/>
                      <a:tailEnd type="none" w="med" len="med"/>
                    </a:lnT>
                    <a:lnB w="12700" cap="flat" cmpd="sng" algn="ctr">
                      <a:solidFill>
                        <a:srgbClr val="5F5F5F"/>
                      </a:solidFill>
                      <a:prstDash val="solid"/>
                      <a:round/>
                      <a:headEnd type="none" w="med" len="med"/>
                      <a:tailEnd type="none" w="med" len="med"/>
                    </a:lnB>
                    <a:solidFill>
                      <a:srgbClr val="EAEAEA"/>
                    </a:solidFill>
                  </a:tcPr>
                </a:tc>
                <a:tc>
                  <a:txBody>
                    <a:bodyPr/>
                    <a:lstStyle/>
                    <a:p>
                      <a:pPr algn="l" rtl="0" fontAlgn="t"/>
                      <a:r>
                        <a:rPr lang="en-US" sz="1200" b="0" i="0" u="none" strike="noStrike" dirty="0">
                          <a:solidFill>
                            <a:srgbClr val="5F5F5F"/>
                          </a:solidFill>
                          <a:latin typeface="+mn-lt"/>
                        </a:rPr>
                        <a:t> </a:t>
                      </a:r>
                    </a:p>
                  </a:txBody>
                  <a:tcPr marL="6980" marR="6980" marT="6980" marB="0">
                    <a:lnL>
                      <a:noFill/>
                    </a:lnL>
                    <a:lnR>
                      <a:noFill/>
                    </a:lnR>
                    <a:lnT w="12700" cap="flat" cmpd="sng" algn="ctr">
                      <a:solidFill>
                        <a:srgbClr val="5F5F5F"/>
                      </a:solidFill>
                      <a:prstDash val="solid"/>
                      <a:round/>
                      <a:headEnd type="none" w="med" len="med"/>
                      <a:tailEnd type="none" w="med" len="med"/>
                    </a:lnT>
                    <a:lnB w="12700" cap="flat" cmpd="sng" algn="ctr">
                      <a:solidFill>
                        <a:srgbClr val="5F5F5F"/>
                      </a:solidFill>
                      <a:prstDash val="solid"/>
                      <a:round/>
                      <a:headEnd type="none" w="med" len="med"/>
                      <a:tailEnd type="none" w="med" len="med"/>
                    </a:lnB>
                    <a:solidFill>
                      <a:srgbClr val="EAEAEA"/>
                    </a:solidFill>
                  </a:tcPr>
                </a:tc>
                <a:tc>
                  <a:txBody>
                    <a:bodyPr/>
                    <a:lstStyle/>
                    <a:p>
                      <a:pPr algn="l" rtl="0" fontAlgn="t"/>
                      <a:r>
                        <a:rPr lang="en-US" sz="1200" b="0" i="0" u="none" strike="noStrike" dirty="0">
                          <a:solidFill>
                            <a:srgbClr val="5F5F5F"/>
                          </a:solidFill>
                          <a:latin typeface="+mn-lt"/>
                        </a:rPr>
                        <a:t>n/a</a:t>
                      </a:r>
                    </a:p>
                  </a:txBody>
                  <a:tcPr marL="6980" marR="6980" marT="6980" marB="0">
                    <a:lnL>
                      <a:noFill/>
                    </a:lnL>
                    <a:lnR w="12700" cap="flat" cmpd="sng" algn="ctr">
                      <a:solidFill>
                        <a:srgbClr val="5F5F5F"/>
                      </a:solidFill>
                      <a:prstDash val="solid"/>
                      <a:round/>
                      <a:headEnd type="none" w="med" len="med"/>
                      <a:tailEnd type="none" w="med" len="med"/>
                    </a:lnR>
                    <a:lnT w="12700" cap="flat" cmpd="sng" algn="ctr">
                      <a:solidFill>
                        <a:srgbClr val="5F5F5F"/>
                      </a:solidFill>
                      <a:prstDash val="solid"/>
                      <a:round/>
                      <a:headEnd type="none" w="med" len="med"/>
                      <a:tailEnd type="none" w="med" len="med"/>
                    </a:lnT>
                    <a:lnB w="12700" cap="flat" cmpd="sng" algn="ctr">
                      <a:solidFill>
                        <a:srgbClr val="5F5F5F"/>
                      </a:solidFill>
                      <a:prstDash val="solid"/>
                      <a:round/>
                      <a:headEnd type="none" w="med" len="med"/>
                      <a:tailEnd type="none" w="med" len="med"/>
                    </a:lnB>
                    <a:solidFill>
                      <a:srgbClr val="EAEAEA"/>
                    </a:solidFill>
                  </a:tcPr>
                </a:tc>
              </a:tr>
            </a:tbl>
          </a:graphicData>
        </a:graphic>
      </p:graphicFrame>
    </p:spTree>
    <p:extLst>
      <p:ext uri="{BB962C8B-B14F-4D97-AF65-F5344CB8AC3E}">
        <p14:creationId xmlns="" xmlns:p14="http://schemas.microsoft.com/office/powerpoint/2010/main" val="2930210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Limitations</a:t>
            </a:r>
            <a:endParaRPr lang="en-US" dirty="0"/>
          </a:p>
        </p:txBody>
      </p:sp>
      <p:sp>
        <p:nvSpPr>
          <p:cNvPr id="6" name="TextBox 5"/>
          <p:cNvSpPr txBox="1"/>
          <p:nvPr/>
        </p:nvSpPr>
        <p:spPr>
          <a:xfrm>
            <a:off x="516367" y="1258645"/>
            <a:ext cx="7820809" cy="1969770"/>
          </a:xfrm>
          <a:prstGeom prst="rect">
            <a:avLst/>
          </a:prstGeom>
          <a:noFill/>
        </p:spPr>
        <p:txBody>
          <a:bodyPr wrap="square" rtlCol="0">
            <a:spAutoFit/>
          </a:bodyPr>
          <a:lstStyle/>
          <a:p>
            <a:pPr marL="228600" indent="-228600">
              <a:spcAft>
                <a:spcPts val="600"/>
              </a:spcAft>
              <a:buFont typeface="Wingdings" pitchFamily="2" charset="2"/>
              <a:buChar char="ü"/>
            </a:pPr>
            <a:r>
              <a:rPr lang="en-US" sz="1400" dirty="0" smtClean="0">
                <a:cs typeface="Arial" pitchFamily="34" charset="0"/>
              </a:rPr>
              <a:t>Only supports 8 Dimension for Account Assignment due to which we are unable to  meet couple of business requirements where more than 8 fields are used for assignment.</a:t>
            </a:r>
          </a:p>
          <a:p>
            <a:pPr marL="228600" indent="-228600">
              <a:spcAft>
                <a:spcPts val="600"/>
              </a:spcAft>
              <a:buFont typeface="Wingdings" pitchFamily="2" charset="2"/>
              <a:buChar char="ü"/>
            </a:pPr>
            <a:r>
              <a:rPr lang="en-US" sz="1400" dirty="0" smtClean="0">
                <a:cs typeface="Arial" pitchFamily="34" charset="0"/>
              </a:rPr>
              <a:t>Sales Resource work assignment is unavailable for Account due to which we can not add additional resource to the Account sales team. As a workaround to this we have to highly rely on the Territory Management for Accounts visibility which in turn leads to a complex &amp; vast territory structure </a:t>
            </a:r>
          </a:p>
          <a:p>
            <a:pPr marL="228600" indent="-228600">
              <a:spcAft>
                <a:spcPts val="600"/>
              </a:spcAft>
              <a:buFont typeface="Wingdings" pitchFamily="2" charset="2"/>
              <a:buChar char="ü"/>
            </a:pPr>
            <a:r>
              <a:rPr lang="en-US" sz="1400" dirty="0" smtClean="0">
                <a:cs typeface="Arial" pitchFamily="34" charset="0"/>
              </a:rPr>
              <a:t>On Account sales team user cannot see the additional </a:t>
            </a:r>
            <a:r>
              <a:rPr lang="en-US" sz="1400" dirty="0" smtClean="0">
                <a:cs typeface="Arial" pitchFamily="34" charset="0"/>
              </a:rPr>
              <a:t>Territory </a:t>
            </a:r>
            <a:r>
              <a:rPr lang="en-US" sz="1400" dirty="0" smtClean="0">
                <a:cs typeface="Arial" pitchFamily="34" charset="0"/>
              </a:rPr>
              <a:t>team member details on the Sales Team which is problematic with third party system where visibility constrain is required</a:t>
            </a:r>
            <a:endParaRPr lang="en-US" sz="1400" dirty="0" smtClean="0">
              <a:cs typeface="Arial" pitchFamily="34" charset="0"/>
            </a:endParaRPr>
          </a:p>
        </p:txBody>
      </p:sp>
    </p:spTree>
    <p:extLst>
      <p:ext uri="{BB962C8B-B14F-4D97-AF65-F5344CB8AC3E}">
        <p14:creationId xmlns="" xmlns:p14="http://schemas.microsoft.com/office/powerpoint/2010/main" val="2930210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1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EXTCOL" val="True"/>
  <p:tag name="CDT_COLFF_NEW" val="21"/>
  <p:tag name="CDT_PROT" val="3"/>
  <p:tag name="CDT_PROT_TOP" val="0"/>
  <p:tag name="CDT_PROT_LEFT" val="0"/>
  <p:tag name="CDT_PROT_WIDTH" val="960,5"/>
  <p:tag name="CDT_PROT_HEIGHT" val="406,08"/>
</p:tagLst>
</file>

<file path=ppt/tags/tag17.xml><?xml version="1.0" encoding="utf-8"?>
<p:tagLst xmlns:a="http://schemas.openxmlformats.org/drawingml/2006/main" xmlns:r="http://schemas.openxmlformats.org/officeDocument/2006/relationships" xmlns:p="http://schemas.openxmlformats.org/presentationml/2006/main">
  <p:tag name="CDT_DUMMYPICTURE" val="True"/>
  <p:tag name="CDT_FILLFIXED" val="True"/>
  <p:tag name="CDT_LINEFIXED" val="True"/>
  <p:tag name="CDT_FILLUNVISIBLE" val="False"/>
  <p:tag name="CDT_LINEUNVISIBLE" val="True"/>
  <p:tag name="CDT_AUTODIALOG" val="2"/>
  <p:tag name="CDT_TARGETSHAPE_NEW" val="14"/>
  <p:tag name="CDT_PROT" val="3"/>
  <p:tag name="CDT_PROT_TOP" val="0"/>
  <p:tag name="CDT_PROT_LEFT" val="0"/>
  <p:tag name="CDT_PROT_WIDTH" val="960,5"/>
  <p:tag name="CDT_PROT_HEIGHT" val="406,08"/>
  <p:tag name="CDT_DELETE_ONEVENT_NEWPRES" val="False"/>
</p:tagLst>
</file>

<file path=ppt/tags/tag1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heme/theme1.xml><?xml version="1.0" encoding="utf-8"?>
<a:theme xmlns:a="http://schemas.openxmlformats.org/drawingml/2006/main" name="Capgemini NA ppt template_8-2015">
  <a:themeElements>
    <a:clrScheme name="Custom 4">
      <a:dk1>
        <a:sysClr val="windowText" lastClr="000000"/>
      </a:dk1>
      <a:lt1>
        <a:sysClr val="window" lastClr="FFFFFF"/>
      </a:lt1>
      <a:dk2>
        <a:srgbClr val="969696"/>
      </a:dk2>
      <a:lt2>
        <a:srgbClr val="C0C0C0"/>
      </a:lt2>
      <a:accent1>
        <a:srgbClr val="263147"/>
      </a:accent1>
      <a:accent2>
        <a:srgbClr val="009ACC"/>
      </a:accent2>
      <a:accent3>
        <a:srgbClr val="70AD47"/>
      </a:accent3>
      <a:accent4>
        <a:srgbClr val="40B3D6"/>
      </a:accent4>
      <a:accent5>
        <a:srgbClr val="E47E1A"/>
      </a:accent5>
      <a:accent6>
        <a:srgbClr val="7FCCE3"/>
      </a:accent6>
      <a:hlink>
        <a:srgbClr val="AC2B37"/>
      </a:hlink>
      <a:folHlink>
        <a:srgbClr val="762C7C"/>
      </a:folHlink>
    </a:clrScheme>
    <a:fontScheme name="Capgemini_NA_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rtlCol="0" anchor="ctr"/>
      <a:lstStyle>
        <a:defPPr algn="ctr">
          <a:defRPr sz="1200" dirty="0">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spcAft>
            <a:spcPts val="600"/>
          </a:spcAft>
          <a:defRPr sz="1200" dirty="0" err="1" smtClean="0">
            <a:latin typeface="Arial" pitchFamily="34" charset="0"/>
            <a:cs typeface="Arial" pitchFamily="34" charset="0"/>
          </a:defRPr>
        </a:defPPr>
      </a:lstStyle>
    </a:txDef>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02CE25BD05595140A16797A69A3C725F" ma:contentTypeVersion="" ma:contentTypeDescription="Create a new document." ma:contentTypeScope="" ma:versionID="6f8745a0660183d5af8471eea87d9d78">
  <xsd:schema xmlns:xsd="http://www.w3.org/2001/XMLSchema" xmlns:xs="http://www.w3.org/2001/XMLSchema" xmlns:p="http://schemas.microsoft.com/office/2006/metadata/properties" targetNamespace="http://schemas.microsoft.com/office/2006/metadata/properties" ma:root="true" ma:fieldsID="f3e687d5f98ee29b9cfcc2ff24550dc4">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9070E7E-6149-45A7-B776-D462CB2451DF}">
  <ds:schemaRefs>
    <ds:schemaRef ds:uri="http://schemas.microsoft.com/sharepoint/v3/contenttype/forms"/>
  </ds:schemaRefs>
</ds:datastoreItem>
</file>

<file path=customXml/itemProps2.xml><?xml version="1.0" encoding="utf-8"?>
<ds:datastoreItem xmlns:ds="http://schemas.openxmlformats.org/officeDocument/2006/customXml" ds:itemID="{C46B31D0-F0E1-4806-BF86-B4980BC61421}">
  <ds:schemaRefs>
    <ds:schemaRef ds:uri="http://schemas.microsoft.com/office/2006/documentManagement/types"/>
    <ds:schemaRef ds:uri="http://purl.org/dc/terms/"/>
    <ds:schemaRef ds:uri="http://schemas.microsoft.com/office/2006/metadata/properties"/>
    <ds:schemaRef ds:uri="http://schemas.openxmlformats.org/package/2006/metadata/core-properties"/>
    <ds:schemaRef ds:uri="http://purl.org/dc/elements/1.1/"/>
    <ds:schemaRef ds:uri="http://www.w3.org/XML/1998/namespace"/>
    <ds:schemaRef ds:uri="http://purl.org/dc/dcmitype/"/>
    <ds:schemaRef ds:uri="http://schemas.microsoft.com/office/infopath/2007/PartnerControls"/>
  </ds:schemaRefs>
</ds:datastoreItem>
</file>

<file path=customXml/itemProps3.xml><?xml version="1.0" encoding="utf-8"?>
<ds:datastoreItem xmlns:ds="http://schemas.openxmlformats.org/officeDocument/2006/customXml" ds:itemID="{57C4A1B7-5E29-4DD5-AC34-B71853CFAB4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Capgemini NA ppt template_8-2015</Template>
  <TotalTime>2711</TotalTime>
  <Words>1090</Words>
  <Application>Microsoft Office PowerPoint</Application>
  <PresentationFormat>On-screen Show (4:3)</PresentationFormat>
  <Paragraphs>113</Paragraphs>
  <Slides>8</Slides>
  <Notes>1</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8</vt:i4>
      </vt:variant>
    </vt:vector>
  </HeadingPairs>
  <TitlesOfParts>
    <vt:vector size="11" baseType="lpstr">
      <vt:lpstr>Capgemini NA ppt template_8-2015</vt:lpstr>
      <vt:lpstr>Closing slides</vt:lpstr>
      <vt:lpstr>think-cell Slide</vt:lpstr>
      <vt:lpstr>Territories – Knowledge Deck</vt:lpstr>
      <vt:lpstr>Territory Management</vt:lpstr>
      <vt:lpstr>Rule Based Assignments</vt:lpstr>
      <vt:lpstr>Territory Dimensions</vt:lpstr>
      <vt:lpstr> POCs &amp; Artifacts</vt:lpstr>
      <vt:lpstr> POCs &amp; Artifacts…</vt:lpstr>
      <vt:lpstr>SRs , ERs</vt:lpstr>
      <vt:lpstr>Limitations</vt:lpstr>
    </vt:vector>
  </TitlesOfParts>
  <Company>Capgemini</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sponse</dc:title>
  <dc:creator>George;Xavier</dc:creator>
  <cp:lastModifiedBy>upasad</cp:lastModifiedBy>
  <cp:revision>1037</cp:revision>
  <dcterms:created xsi:type="dcterms:W3CDTF">2015-08-21T00:50:01Z</dcterms:created>
  <dcterms:modified xsi:type="dcterms:W3CDTF">2016-11-14T06:56: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2CE25BD05595140A16797A69A3C725F</vt:lpwstr>
  </property>
  <property fmtid="{D5CDD505-2E9C-101B-9397-08002B2CF9AE}" pid="3" name="_NewReviewCycle">
    <vt:lpwstr/>
  </property>
</Properties>
</file>